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  <p:sldMasterId id="2147483655" r:id="rId5"/>
  </p:sldMasterIdLst>
  <p:notesMasterIdLst>
    <p:notesMasterId r:id="rId17"/>
  </p:notesMasterIdLst>
  <p:handoutMasterIdLst>
    <p:handoutMasterId r:id="rId18"/>
  </p:handoutMasterIdLst>
  <p:sldIdLst>
    <p:sldId id="256" r:id="rId6"/>
    <p:sldId id="1375" r:id="rId7"/>
    <p:sldId id="1393" r:id="rId8"/>
    <p:sldId id="1417" r:id="rId9"/>
    <p:sldId id="1421" r:id="rId10"/>
    <p:sldId id="1420" r:id="rId11"/>
    <p:sldId id="1418" r:id="rId12"/>
    <p:sldId id="1419" r:id="rId13"/>
    <p:sldId id="1414" r:id="rId14"/>
    <p:sldId id="258" r:id="rId15"/>
    <p:sldId id="1380" r:id="rId16"/>
  </p:sldIdLst>
  <p:sldSz cx="12192000" cy="6858000"/>
  <p:notesSz cx="6858000" cy="9144000"/>
  <p:custDataLst>
    <p:tags r:id="rId19"/>
  </p:custDataLst>
  <p:defaultTextStyle>
    <a:defPPr>
      <a:defRPr lang="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D983F41C-4086-50CD-F831-EF54D548AE36}" name="Stephan Duparc" initials="SD" userId="S::duparcs@mmv.org::69f3d92e-6d3e-4656-8623-5c5914875b1b" providerId="AD"/>
  <p188:author id="{303B6B2E-79CA-FFEA-83B6-75C964FF509C}" name="Roberta Ataides" initials="RA" userId="S::Rataides@globalhealthstrategies.com::26978c2e-c0e7-4ebe-a368-64e90fd39fb9" providerId="AD"/>
  <p188:author id="{DDCEA64F-EF61-E0D3-39EA-5F7DF23B08F0}" name="Katy Athersuch" initials="KA" userId="S::athersuchk@mmv.org::104cc7e7-9840-4047-baf5-11674daf29ae" providerId="AD"/>
  <p188:author id="{7FFB6450-81B4-398A-9CBC-9A2EAB134177}" name="Catharine Isabel De Freitas Vidal" initials="CD" userId="S::defreitasvidalci-consultants@mmv.org::723d9219-fd35-4133-b9e1-bb406ebdbe8e" providerId="AD"/>
  <p188:author id="{44390455-8A80-8211-0483-6F7C02172572}" name="Angelica Castanon" initials="" userId="S::castanona-consultants@mmv.org::edfdb556-f341-4ff3-a55e-e03fb347cfbe" providerId="AD"/>
  <p188:author id="{729E9D87-A386-B429-6F70-F5FAB111B543}" name="Luiza Lena Bastos" initials="LB" userId="S::llena@globalhealthstrategies.com::179272a7-8a88-4728-9a81-13f259b8b3c4" providerId="AD"/>
  <p188:author id="{16DC4895-7BF0-6557-92BC-CF359A7A8811}" name="Thy Do" initials="" userId="S::dot@mmv.org::0465d161-531c-41ef-9d93-cd0c4cfb7500" providerId="AD"/>
  <p188:author id="{82071999-20FC-C2D8-8326-5E816953EB1A}" name="Marcelo Brito" initials="MB" userId="Hgnimb9amp9RrWuHNpTST1tFjqDLLQ8ahVbTuZEHdHg=" providerId="None"/>
  <p188:author id="{3C812EC0-EA41-F334-16BD-4947AEABED77}" name="Usuário Convidado" initials="UC" userId="S::urn:spo:anon#3ffa552f0f3402f5261bcd528301cfe9385041ae9377e37ca34c6838f2a28ddb::" providerId="AD"/>
  <p188:author id="{DD84A5CC-CC19-6275-0F3B-98F535442BBB}" name="Elisa Vidal" initials="EV" userId="S::vidale-consultants@mmv.org::ac6a89c7-e312-46c7-8487-2e424bda1be4" providerId="AD"/>
  <p188:author id="{8A716CE7-890A-024A-3920-5FA3A9725D3F}" name="Penny Grewal Daumerie" initials="PGD" userId="S::grewalp-consultant@mmv.org::a2db84ba-2129-44bb-81af-3958642a199f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68A96"/>
    <a:srgbClr val="FF7F50"/>
    <a:srgbClr val="EF5949"/>
    <a:srgbClr val="B00404"/>
    <a:srgbClr val="E08975"/>
    <a:srgbClr val="99D293"/>
    <a:srgbClr val="A6E39D"/>
    <a:srgbClr val="004F71"/>
    <a:srgbClr val="D9D9D6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73A0DAA-6AF3-43AB-8588-CEC1D06C72B9}" styleName="Estilo Médio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E9639D4-E3E2-4D34-9284-5A2195B3D0D7}" styleName="Estilo Claro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69012ECD-51FC-41F1-AA8D-1B2483CD663E}" styleName="Estilo Claro 2 - Ênfase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5914" autoAdjust="0"/>
    <p:restoredTop sz="94878" autoAdjust="0"/>
  </p:normalViewPr>
  <p:slideViewPr>
    <p:cSldViewPr snapToGrid="0">
      <p:cViewPr>
        <p:scale>
          <a:sx n="71" d="100"/>
          <a:sy n="71" d="100"/>
        </p:scale>
        <p:origin x="64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microsoft.com/office/2018/10/relationships/authors" Target="author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94310C2F-0DBC-4609-A429-32C8658DF7D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7E52A8B-AC46-46C7-B236-9D5DC559A25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A3A23BC-3D7D-438B-9CEC-419999784A25}" type="datetimeFigureOut">
              <a:rPr lang="en-GB" smtClean="0"/>
              <a:t>30/10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2CE6CFD-B1CD-407C-A572-A925ACA4896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1746ED7-CB92-4871-A3D0-A257681EA6E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B5F0295-2281-48BE-9857-648498F05F2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9529126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6083C89-A32B-FF4C-B729-B30A100A1C37}" type="datetimeFigureOut">
              <a:rPr lang="en-US" smtClean="0"/>
              <a:t>10/30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B90CA9-7E22-2A43-A170-59C9D6E39D2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62569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4DB56E4-2557-B444-2E82-7C7AC53C5DE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34F1A2AC-54CF-F32A-CA15-6254B7F5AAE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83475A8C-C4FA-23A5-5E53-ED25A753B74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" dirty="0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7FCE776A-BB88-455E-0961-7A78066EAA8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B90CA9-7E22-2A43-A170-59C9D6E39D20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20570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75D7708-9237-A4AD-1B57-336E5086E5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1CDB0DD3-F7BE-425E-FB1D-954649BE54A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7E381AB0-A8CA-75F2-130C-A6B88B4843F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" dirty="0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443E2C14-04E8-D9BD-DD6C-D0C4D9103E9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B90CA9-7E22-2A43-A170-59C9D6E39D20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799351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9A700BB-C9F6-3452-3F53-DE1D5EC68A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30F05673-1078-DD90-BD86-D15AF864A3B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709BB18B-C515-C30C-9B6D-A0B6FD399E5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" dirty="0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EE15205A-BCE4-6340-E95C-184D4716B2D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B90CA9-7E22-2A43-A170-59C9D6E39D20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85476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7F0944B-19EB-5738-272E-A2536988B3D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FE3F68BD-F9FD-5D37-19B7-976307420C3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933A657A-B849-D8F9-EF0D-D14F9EF2B4E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" dirty="0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DD71C2A0-46D4-D7D4-95EB-1CC4CB755B2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B90CA9-7E22-2A43-A170-59C9D6E39D20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945885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1D532D3-AAAD-9525-37CE-2DA1DC129CE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BE176645-AA30-90C3-6745-820B5A93778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FCC9BFAC-DF78-5184-A09E-66ABF7FC146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" dirty="0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8F7537C0-5BE3-A8A1-737E-DE16E29CA3C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B90CA9-7E22-2A43-A170-59C9D6E39D20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710502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9E2F52-23B1-99F9-6B60-3E9AAE6137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6128C456-D7F0-183D-4BD5-CB9BF06BC33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CED73311-60BB-C638-FEF0-7EE88881B20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" dirty="0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D12AF883-7A7D-07B0-4ED1-B415A03737A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B90CA9-7E22-2A43-A170-59C9D6E39D20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678780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81F6966-B3E7-5E08-025B-A0FF2A0F77B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E148743C-001C-A867-D58F-68B316B407A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1F1A9857-6880-DADB-6383-8DAECA2452B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" dirty="0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7C28E2A1-7C01-E2E0-C333-8B3C587CF82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B90CA9-7E22-2A43-A170-59C9D6E39D20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36167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_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Shape&#10;&#10;Description automatically generated with medium confidence">
            <a:extLst>
              <a:ext uri="{FF2B5EF4-FFF2-40B4-BE49-F238E27FC236}">
                <a16:creationId xmlns:a16="http://schemas.microsoft.com/office/drawing/2014/main" id="{DCD6D511-5013-BE41-ABDA-0F8FBBFD6A8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3124200"/>
            <a:ext cx="3454400" cy="37338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C254DA60-59D6-D140-9435-437709D6EED9}"/>
              </a:ext>
            </a:extLst>
          </p:cNvPr>
          <p:cNvSpPr/>
          <p:nvPr userDrawn="1"/>
        </p:nvSpPr>
        <p:spPr>
          <a:xfrm>
            <a:off x="76200" y="0"/>
            <a:ext cx="11734800" cy="177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31AE576-2D97-F045-8298-01CA4D8366D6}"/>
              </a:ext>
            </a:extLst>
          </p:cNvPr>
          <p:cNvSpPr/>
          <p:nvPr userDrawn="1"/>
        </p:nvSpPr>
        <p:spPr>
          <a:xfrm>
            <a:off x="7586133" y="5080001"/>
            <a:ext cx="4605867" cy="177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 descr="Background pattern&#10;&#10;Description automatically generated">
            <a:extLst>
              <a:ext uri="{FF2B5EF4-FFF2-40B4-BE49-F238E27FC236}">
                <a16:creationId xmlns:a16="http://schemas.microsoft.com/office/drawing/2014/main" id="{FC9C0FE1-3F31-1B41-866E-C1689380CF5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499600" y="0"/>
            <a:ext cx="2692400" cy="6858000"/>
          </a:xfrm>
          <a:prstGeom prst="rect">
            <a:avLst/>
          </a:prstGeom>
        </p:spPr>
      </p:pic>
      <p:pic>
        <p:nvPicPr>
          <p:cNvPr id="10" name="Picture 9" descr="Graphical user interface, text&#10;&#10;Description automatically generated with medium confidence">
            <a:extLst>
              <a:ext uri="{FF2B5EF4-FFF2-40B4-BE49-F238E27FC236}">
                <a16:creationId xmlns:a16="http://schemas.microsoft.com/office/drawing/2014/main" id="{7DBCDD86-2D63-CD4A-959D-DF6A29E35E01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7340600" y="685800"/>
            <a:ext cx="3810000" cy="11684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7560179-B27B-3E44-A3C8-353F3C1623C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62000" y="1854199"/>
            <a:ext cx="9144000" cy="1655763"/>
          </a:xfrm>
        </p:spPr>
        <p:txBody>
          <a:bodyPr anchor="b">
            <a:normAutofit/>
          </a:bodyPr>
          <a:lstStyle>
            <a:lvl1pPr algn="l">
              <a:lnSpc>
                <a:spcPts val="4400"/>
              </a:lnSpc>
              <a:defRPr sz="4400">
                <a:solidFill>
                  <a:srgbClr val="004F7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C0565EF-E3F8-974C-BCE0-32A5F59CBB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>
            <a:normAutofit/>
          </a:bodyPr>
          <a:lstStyle>
            <a:lvl1pPr marL="0" indent="0" algn="l">
              <a:buNone/>
              <a:defRPr sz="1800" b="0">
                <a:solidFill>
                  <a:srgbClr val="004F7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6776118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23336" y="215921"/>
            <a:ext cx="11482917" cy="7032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4" name="Content Placeholder 12"/>
          <p:cNvSpPr>
            <a:spLocks noGrp="1"/>
          </p:cNvSpPr>
          <p:nvPr>
            <p:ph sz="quarter" idx="12"/>
          </p:nvPr>
        </p:nvSpPr>
        <p:spPr>
          <a:xfrm>
            <a:off x="423333" y="1344614"/>
            <a:ext cx="11277600" cy="2222853"/>
          </a:xfrm>
          <a:prstGeom prst="rect">
            <a:avLst/>
          </a:prstGeom>
          <a:noFill/>
        </p:spPr>
        <p:txBody>
          <a:bodyPr/>
          <a:lstStyle>
            <a:lvl4pPr>
              <a:defRPr b="0"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08960739"/>
      </p:ext>
    </p:extLst>
  </p:cSld>
  <p:clrMapOvr>
    <a:masterClrMapping/>
  </p:clrMapOvr>
  <p:transition spd="slow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231AE576-2D97-F045-8298-01CA4D8366D6}"/>
              </a:ext>
            </a:extLst>
          </p:cNvPr>
          <p:cNvSpPr/>
          <p:nvPr userDrawn="1"/>
        </p:nvSpPr>
        <p:spPr>
          <a:xfrm>
            <a:off x="7586133" y="5080001"/>
            <a:ext cx="4605867" cy="1778000"/>
          </a:xfrm>
          <a:prstGeom prst="rect">
            <a:avLst/>
          </a:prstGeom>
          <a:solidFill>
            <a:srgbClr val="004F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7560179-B27B-3E44-A3C8-353F3C1623C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62000" y="1529691"/>
            <a:ext cx="9144000" cy="1655763"/>
          </a:xfrm>
        </p:spPr>
        <p:txBody>
          <a:bodyPr anchor="b">
            <a:normAutofit/>
          </a:bodyPr>
          <a:lstStyle>
            <a:lvl1pPr algn="l">
              <a:lnSpc>
                <a:spcPts val="4400"/>
              </a:lnSpc>
              <a:defRPr sz="4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Right Triangle 5">
            <a:extLst>
              <a:ext uri="{FF2B5EF4-FFF2-40B4-BE49-F238E27FC236}">
                <a16:creationId xmlns:a16="http://schemas.microsoft.com/office/drawing/2014/main" id="{9DEECCB4-3763-3844-861B-C8A4E2C1C08F}"/>
              </a:ext>
            </a:extLst>
          </p:cNvPr>
          <p:cNvSpPr/>
          <p:nvPr userDrawn="1"/>
        </p:nvSpPr>
        <p:spPr>
          <a:xfrm>
            <a:off x="76200" y="5188222"/>
            <a:ext cx="11988800" cy="1168400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C0565EF-E3F8-974C-BCE0-32A5F59CBB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277530"/>
            <a:ext cx="9144000" cy="1655762"/>
          </a:xfrm>
        </p:spPr>
        <p:txBody>
          <a:bodyPr>
            <a:normAutofit/>
          </a:bodyPr>
          <a:lstStyle>
            <a:lvl1pPr marL="0" indent="0" algn="l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A11633D-6A65-FD4A-A6BD-AFF9EFBE29E4}"/>
              </a:ext>
            </a:extLst>
          </p:cNvPr>
          <p:cNvSpPr/>
          <p:nvPr userDrawn="1"/>
        </p:nvSpPr>
        <p:spPr>
          <a:xfrm flipH="1">
            <a:off x="90626" y="6356622"/>
            <a:ext cx="12101374" cy="4947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 descr="Background pattern&#10;&#10;Description automatically generated">
            <a:extLst>
              <a:ext uri="{FF2B5EF4-FFF2-40B4-BE49-F238E27FC236}">
                <a16:creationId xmlns:a16="http://schemas.microsoft.com/office/drawing/2014/main" id="{FC9C0FE1-3F31-1B41-866E-C1689380CF5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499600" y="0"/>
            <a:ext cx="2692400" cy="6858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7DBCDD86-2D63-CD4A-959D-DF6A29E35E0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7354802" y="685800"/>
            <a:ext cx="3781595" cy="11684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CD6D511-5013-BE41-ABDA-0F8FBBFD6A81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0" y="3124200"/>
            <a:ext cx="2670452" cy="3733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551450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ight Triangle 5">
            <a:extLst>
              <a:ext uri="{FF2B5EF4-FFF2-40B4-BE49-F238E27FC236}">
                <a16:creationId xmlns:a16="http://schemas.microsoft.com/office/drawing/2014/main" id="{9DEECCB4-3763-3844-861B-C8A4E2C1C08F}"/>
              </a:ext>
            </a:extLst>
          </p:cNvPr>
          <p:cNvSpPr/>
          <p:nvPr userDrawn="1"/>
        </p:nvSpPr>
        <p:spPr>
          <a:xfrm>
            <a:off x="76200" y="5188222"/>
            <a:ext cx="11988800" cy="1168400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A11633D-6A65-FD4A-A6BD-AFF9EFBE29E4}"/>
              </a:ext>
            </a:extLst>
          </p:cNvPr>
          <p:cNvSpPr/>
          <p:nvPr userDrawn="1"/>
        </p:nvSpPr>
        <p:spPr>
          <a:xfrm flipH="1">
            <a:off x="90626" y="6356622"/>
            <a:ext cx="12101374" cy="4947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rapezoid 12">
            <a:extLst>
              <a:ext uri="{FF2B5EF4-FFF2-40B4-BE49-F238E27FC236}">
                <a16:creationId xmlns:a16="http://schemas.microsoft.com/office/drawing/2014/main" id="{8B57A61E-7335-8949-B8AB-E2769CE9D943}"/>
              </a:ext>
            </a:extLst>
          </p:cNvPr>
          <p:cNvSpPr/>
          <p:nvPr userDrawn="1"/>
        </p:nvSpPr>
        <p:spPr>
          <a:xfrm flipV="1">
            <a:off x="6771640" y="-848"/>
            <a:ext cx="5521960" cy="6858000"/>
          </a:xfrm>
          <a:prstGeom prst="trapezoid">
            <a:avLst>
              <a:gd name="adj" fmla="val 42030"/>
            </a:avLst>
          </a:prstGeom>
          <a:solidFill>
            <a:srgbClr val="368A9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9DE53D54-77F5-914E-BEDA-2592D387A91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417648" y="-481"/>
            <a:ext cx="4789127" cy="6864903"/>
          </a:xfrm>
          <a:custGeom>
            <a:avLst/>
            <a:gdLst>
              <a:gd name="connsiteX0" fmla="*/ 0 w 4995862"/>
              <a:gd name="connsiteY0" fmla="*/ 6842125 h 6842125"/>
              <a:gd name="connsiteX1" fmla="*/ 1248966 w 4995862"/>
              <a:gd name="connsiteY1" fmla="*/ 0 h 6842125"/>
              <a:gd name="connsiteX2" fmla="*/ 3746897 w 4995862"/>
              <a:gd name="connsiteY2" fmla="*/ 0 h 6842125"/>
              <a:gd name="connsiteX3" fmla="*/ 4995862 w 4995862"/>
              <a:gd name="connsiteY3" fmla="*/ 6842125 h 6842125"/>
              <a:gd name="connsiteX4" fmla="*/ 0 w 4995862"/>
              <a:gd name="connsiteY4" fmla="*/ 6842125 h 6842125"/>
              <a:gd name="connsiteX0" fmla="*/ 0 w 4995862"/>
              <a:gd name="connsiteY0" fmla="*/ 6842125 h 6842125"/>
              <a:gd name="connsiteX1" fmla="*/ 227688 w 4995862"/>
              <a:gd name="connsiteY1" fmla="*/ 11875 h 6842125"/>
              <a:gd name="connsiteX2" fmla="*/ 3746897 w 4995862"/>
              <a:gd name="connsiteY2" fmla="*/ 0 h 6842125"/>
              <a:gd name="connsiteX3" fmla="*/ 4995862 w 4995862"/>
              <a:gd name="connsiteY3" fmla="*/ 6842125 h 6842125"/>
              <a:gd name="connsiteX4" fmla="*/ 0 w 4995862"/>
              <a:gd name="connsiteY4" fmla="*/ 6842125 h 6842125"/>
              <a:gd name="connsiteX0" fmla="*/ 1660488 w 4768174"/>
              <a:gd name="connsiteY0" fmla="*/ 6842125 h 6842125"/>
              <a:gd name="connsiteX1" fmla="*/ 0 w 4768174"/>
              <a:gd name="connsiteY1" fmla="*/ 11875 h 6842125"/>
              <a:gd name="connsiteX2" fmla="*/ 3519209 w 4768174"/>
              <a:gd name="connsiteY2" fmla="*/ 0 h 6842125"/>
              <a:gd name="connsiteX3" fmla="*/ 4768174 w 4768174"/>
              <a:gd name="connsiteY3" fmla="*/ 6842125 h 6842125"/>
              <a:gd name="connsiteX4" fmla="*/ 1660488 w 4768174"/>
              <a:gd name="connsiteY4" fmla="*/ 6842125 h 6842125"/>
              <a:gd name="connsiteX0" fmla="*/ 1660488 w 4768174"/>
              <a:gd name="connsiteY0" fmla="*/ 6830250 h 6830250"/>
              <a:gd name="connsiteX1" fmla="*/ 0 w 4768174"/>
              <a:gd name="connsiteY1" fmla="*/ 0 h 6830250"/>
              <a:gd name="connsiteX2" fmla="*/ 4754243 w 4768174"/>
              <a:gd name="connsiteY2" fmla="*/ 1 h 6830250"/>
              <a:gd name="connsiteX3" fmla="*/ 4768174 w 4768174"/>
              <a:gd name="connsiteY3" fmla="*/ 6830250 h 6830250"/>
              <a:gd name="connsiteX4" fmla="*/ 1660488 w 4768174"/>
              <a:gd name="connsiteY4" fmla="*/ 6830250 h 6830250"/>
              <a:gd name="connsiteX0" fmla="*/ 1666666 w 4774352"/>
              <a:gd name="connsiteY0" fmla="*/ 6842607 h 6842607"/>
              <a:gd name="connsiteX1" fmla="*/ 0 w 4774352"/>
              <a:gd name="connsiteY1" fmla="*/ 0 h 6842607"/>
              <a:gd name="connsiteX2" fmla="*/ 4760421 w 4774352"/>
              <a:gd name="connsiteY2" fmla="*/ 12358 h 6842607"/>
              <a:gd name="connsiteX3" fmla="*/ 4774352 w 4774352"/>
              <a:gd name="connsiteY3" fmla="*/ 6842607 h 6842607"/>
              <a:gd name="connsiteX4" fmla="*/ 1666666 w 4774352"/>
              <a:gd name="connsiteY4" fmla="*/ 6842607 h 6842607"/>
              <a:gd name="connsiteX0" fmla="*/ 1666666 w 4785836"/>
              <a:gd name="connsiteY0" fmla="*/ 6842607 h 6842607"/>
              <a:gd name="connsiteX1" fmla="*/ 0 w 4785836"/>
              <a:gd name="connsiteY1" fmla="*/ 0 h 6842607"/>
              <a:gd name="connsiteX2" fmla="*/ 4785134 w 4785836"/>
              <a:gd name="connsiteY2" fmla="*/ 1 h 6842607"/>
              <a:gd name="connsiteX3" fmla="*/ 4774352 w 4785836"/>
              <a:gd name="connsiteY3" fmla="*/ 6842607 h 6842607"/>
              <a:gd name="connsiteX4" fmla="*/ 1666666 w 4785836"/>
              <a:gd name="connsiteY4" fmla="*/ 6842607 h 6842607"/>
              <a:gd name="connsiteX0" fmla="*/ 1666666 w 4786709"/>
              <a:gd name="connsiteY0" fmla="*/ 6842607 h 6854964"/>
              <a:gd name="connsiteX1" fmla="*/ 0 w 4786709"/>
              <a:gd name="connsiteY1" fmla="*/ 0 h 6854964"/>
              <a:gd name="connsiteX2" fmla="*/ 4785134 w 4786709"/>
              <a:gd name="connsiteY2" fmla="*/ 1 h 6854964"/>
              <a:gd name="connsiteX3" fmla="*/ 4786709 w 4786709"/>
              <a:gd name="connsiteY3" fmla="*/ 6854964 h 6854964"/>
              <a:gd name="connsiteX4" fmla="*/ 1666666 w 4786709"/>
              <a:gd name="connsiteY4" fmla="*/ 6842607 h 6854964"/>
              <a:gd name="connsiteX0" fmla="*/ 1666666 w 4799066"/>
              <a:gd name="connsiteY0" fmla="*/ 6842607 h 6854964"/>
              <a:gd name="connsiteX1" fmla="*/ 0 w 4799066"/>
              <a:gd name="connsiteY1" fmla="*/ 0 h 6854964"/>
              <a:gd name="connsiteX2" fmla="*/ 4785134 w 4799066"/>
              <a:gd name="connsiteY2" fmla="*/ 1 h 6854964"/>
              <a:gd name="connsiteX3" fmla="*/ 4799066 w 4799066"/>
              <a:gd name="connsiteY3" fmla="*/ 6854964 h 6854964"/>
              <a:gd name="connsiteX4" fmla="*/ 1666666 w 4799066"/>
              <a:gd name="connsiteY4" fmla="*/ 6842607 h 6854964"/>
              <a:gd name="connsiteX0" fmla="*/ 1679022 w 4799066"/>
              <a:gd name="connsiteY0" fmla="*/ 6854964 h 6854964"/>
              <a:gd name="connsiteX1" fmla="*/ 0 w 4799066"/>
              <a:gd name="connsiteY1" fmla="*/ 0 h 6854964"/>
              <a:gd name="connsiteX2" fmla="*/ 4785134 w 4799066"/>
              <a:gd name="connsiteY2" fmla="*/ 1 h 6854964"/>
              <a:gd name="connsiteX3" fmla="*/ 4799066 w 4799066"/>
              <a:gd name="connsiteY3" fmla="*/ 6854964 h 6854964"/>
              <a:gd name="connsiteX4" fmla="*/ 1679022 w 4799066"/>
              <a:gd name="connsiteY4" fmla="*/ 6854964 h 6854964"/>
              <a:gd name="connsiteX0" fmla="*/ 1679022 w 4789127"/>
              <a:gd name="connsiteY0" fmla="*/ 6854964 h 6864903"/>
              <a:gd name="connsiteX1" fmla="*/ 0 w 4789127"/>
              <a:gd name="connsiteY1" fmla="*/ 0 h 6864903"/>
              <a:gd name="connsiteX2" fmla="*/ 4785134 w 4789127"/>
              <a:gd name="connsiteY2" fmla="*/ 1 h 6864903"/>
              <a:gd name="connsiteX3" fmla="*/ 4789127 w 4789127"/>
              <a:gd name="connsiteY3" fmla="*/ 6864903 h 6864903"/>
              <a:gd name="connsiteX4" fmla="*/ 1679022 w 4789127"/>
              <a:gd name="connsiteY4" fmla="*/ 6854964 h 6864903"/>
              <a:gd name="connsiteX0" fmla="*/ 1679022 w 4789127"/>
              <a:gd name="connsiteY0" fmla="*/ 6864903 h 6864903"/>
              <a:gd name="connsiteX1" fmla="*/ 0 w 4789127"/>
              <a:gd name="connsiteY1" fmla="*/ 0 h 6864903"/>
              <a:gd name="connsiteX2" fmla="*/ 4785134 w 4789127"/>
              <a:gd name="connsiteY2" fmla="*/ 1 h 6864903"/>
              <a:gd name="connsiteX3" fmla="*/ 4789127 w 4789127"/>
              <a:gd name="connsiteY3" fmla="*/ 6864903 h 6864903"/>
              <a:gd name="connsiteX4" fmla="*/ 1679022 w 4789127"/>
              <a:gd name="connsiteY4" fmla="*/ 6864903 h 68649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89127" h="6864903">
                <a:moveTo>
                  <a:pt x="1679022" y="6864903"/>
                </a:moveTo>
                <a:lnTo>
                  <a:pt x="0" y="0"/>
                </a:lnTo>
                <a:lnTo>
                  <a:pt x="4785134" y="1"/>
                </a:lnTo>
                <a:cubicBezTo>
                  <a:pt x="4789778" y="2276751"/>
                  <a:pt x="4784483" y="4588153"/>
                  <a:pt x="4789127" y="6864903"/>
                </a:cubicBezTo>
                <a:lnTo>
                  <a:pt x="1679022" y="6864903"/>
                </a:lnTo>
                <a:close/>
              </a:path>
            </a:pathLst>
          </a:custGeom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7560179-B27B-3E44-A3C8-353F3C1623C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62000" y="1529691"/>
            <a:ext cx="6009640" cy="1655763"/>
          </a:xfrm>
        </p:spPr>
        <p:txBody>
          <a:bodyPr anchor="b">
            <a:normAutofit/>
          </a:bodyPr>
          <a:lstStyle>
            <a:lvl1pPr algn="l">
              <a:lnSpc>
                <a:spcPts val="4400"/>
              </a:lnSpc>
              <a:defRPr sz="4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C0565EF-E3F8-974C-BCE0-32A5F59CBB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277530"/>
            <a:ext cx="6471920" cy="1655762"/>
          </a:xfrm>
        </p:spPr>
        <p:txBody>
          <a:bodyPr>
            <a:normAutofit/>
          </a:bodyPr>
          <a:lstStyle>
            <a:lvl1pPr marL="0" indent="0" algn="l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CD6D511-5013-BE41-ABDA-0F8FBBFD6A8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3124200"/>
            <a:ext cx="2670452" cy="37338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7DBCDD86-2D63-CD4A-959D-DF6A29E35E0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4311475" y="685800"/>
            <a:ext cx="3781595" cy="1168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243676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Divider_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BC03668-76DC-DA45-9847-D15DAAB65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teracción Mensual MINSA-PAV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1F6D97B-BD88-9746-A448-E8C4D9E5D7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543B31-20F9-C04C-96D1-5D3BBCCF9BC9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FD8416F-7979-6749-B334-63B4BD8ADA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740729"/>
            <a:ext cx="10515600" cy="2852737"/>
          </a:xfrm>
        </p:spPr>
        <p:txBody>
          <a:bodyPr anchor="b">
            <a:normAutofit/>
          </a:bodyPr>
          <a:lstStyle>
            <a:lvl1pPr>
              <a:lnSpc>
                <a:spcPts val="4400"/>
              </a:lnSpc>
              <a:defRPr sz="4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9909F22-2591-5742-AAC5-B47BDEB185B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3620454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3894848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BC03668-76DC-DA45-9847-D15DAAB65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teracción Mensual MINSA-PAV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1F6D97B-BD88-9746-A448-E8C4D9E5D7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543B31-20F9-C04C-96D1-5D3BBCCF9BC9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FD8416F-7979-6749-B334-63B4BD8ADA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740729"/>
            <a:ext cx="6162839" cy="2852737"/>
          </a:xfrm>
        </p:spPr>
        <p:txBody>
          <a:bodyPr anchor="b">
            <a:normAutofit/>
          </a:bodyPr>
          <a:lstStyle>
            <a:lvl1pPr>
              <a:lnSpc>
                <a:spcPts val="4400"/>
              </a:lnSpc>
              <a:defRPr sz="4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9909F22-2591-5742-AAC5-B47BDEB185B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3620454"/>
            <a:ext cx="704215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rapezoid 7">
            <a:extLst>
              <a:ext uri="{FF2B5EF4-FFF2-40B4-BE49-F238E27FC236}">
                <a16:creationId xmlns:a16="http://schemas.microsoft.com/office/drawing/2014/main" id="{EC5A6377-930C-484A-B3A8-C1853383CE91}"/>
              </a:ext>
            </a:extLst>
          </p:cNvPr>
          <p:cNvSpPr/>
          <p:nvPr userDrawn="1"/>
        </p:nvSpPr>
        <p:spPr>
          <a:xfrm flipV="1">
            <a:off x="6771640" y="-848"/>
            <a:ext cx="5521960" cy="6858000"/>
          </a:xfrm>
          <a:prstGeom prst="trapezoid">
            <a:avLst>
              <a:gd name="adj" fmla="val 42030"/>
            </a:avLst>
          </a:prstGeom>
          <a:solidFill>
            <a:srgbClr val="FF7F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DC9E0C45-1F50-C543-816B-10CFF5DCD61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417648" y="-481"/>
            <a:ext cx="4786025" cy="6874842"/>
          </a:xfrm>
          <a:custGeom>
            <a:avLst/>
            <a:gdLst>
              <a:gd name="connsiteX0" fmla="*/ 0 w 4995862"/>
              <a:gd name="connsiteY0" fmla="*/ 6842125 h 6842125"/>
              <a:gd name="connsiteX1" fmla="*/ 1248966 w 4995862"/>
              <a:gd name="connsiteY1" fmla="*/ 0 h 6842125"/>
              <a:gd name="connsiteX2" fmla="*/ 3746897 w 4995862"/>
              <a:gd name="connsiteY2" fmla="*/ 0 h 6842125"/>
              <a:gd name="connsiteX3" fmla="*/ 4995862 w 4995862"/>
              <a:gd name="connsiteY3" fmla="*/ 6842125 h 6842125"/>
              <a:gd name="connsiteX4" fmla="*/ 0 w 4995862"/>
              <a:gd name="connsiteY4" fmla="*/ 6842125 h 6842125"/>
              <a:gd name="connsiteX0" fmla="*/ 0 w 4995862"/>
              <a:gd name="connsiteY0" fmla="*/ 6842125 h 6842125"/>
              <a:gd name="connsiteX1" fmla="*/ 227688 w 4995862"/>
              <a:gd name="connsiteY1" fmla="*/ 11875 h 6842125"/>
              <a:gd name="connsiteX2" fmla="*/ 3746897 w 4995862"/>
              <a:gd name="connsiteY2" fmla="*/ 0 h 6842125"/>
              <a:gd name="connsiteX3" fmla="*/ 4995862 w 4995862"/>
              <a:gd name="connsiteY3" fmla="*/ 6842125 h 6842125"/>
              <a:gd name="connsiteX4" fmla="*/ 0 w 4995862"/>
              <a:gd name="connsiteY4" fmla="*/ 6842125 h 6842125"/>
              <a:gd name="connsiteX0" fmla="*/ 1660488 w 4768174"/>
              <a:gd name="connsiteY0" fmla="*/ 6842125 h 6842125"/>
              <a:gd name="connsiteX1" fmla="*/ 0 w 4768174"/>
              <a:gd name="connsiteY1" fmla="*/ 11875 h 6842125"/>
              <a:gd name="connsiteX2" fmla="*/ 3519209 w 4768174"/>
              <a:gd name="connsiteY2" fmla="*/ 0 h 6842125"/>
              <a:gd name="connsiteX3" fmla="*/ 4768174 w 4768174"/>
              <a:gd name="connsiteY3" fmla="*/ 6842125 h 6842125"/>
              <a:gd name="connsiteX4" fmla="*/ 1660488 w 4768174"/>
              <a:gd name="connsiteY4" fmla="*/ 6842125 h 6842125"/>
              <a:gd name="connsiteX0" fmla="*/ 1660488 w 4768174"/>
              <a:gd name="connsiteY0" fmla="*/ 6830250 h 6830250"/>
              <a:gd name="connsiteX1" fmla="*/ 0 w 4768174"/>
              <a:gd name="connsiteY1" fmla="*/ 0 h 6830250"/>
              <a:gd name="connsiteX2" fmla="*/ 4754243 w 4768174"/>
              <a:gd name="connsiteY2" fmla="*/ 1 h 6830250"/>
              <a:gd name="connsiteX3" fmla="*/ 4768174 w 4768174"/>
              <a:gd name="connsiteY3" fmla="*/ 6830250 h 6830250"/>
              <a:gd name="connsiteX4" fmla="*/ 1660488 w 4768174"/>
              <a:gd name="connsiteY4" fmla="*/ 6830250 h 6830250"/>
              <a:gd name="connsiteX0" fmla="*/ 1666666 w 4774352"/>
              <a:gd name="connsiteY0" fmla="*/ 6842607 h 6842607"/>
              <a:gd name="connsiteX1" fmla="*/ 0 w 4774352"/>
              <a:gd name="connsiteY1" fmla="*/ 0 h 6842607"/>
              <a:gd name="connsiteX2" fmla="*/ 4760421 w 4774352"/>
              <a:gd name="connsiteY2" fmla="*/ 12358 h 6842607"/>
              <a:gd name="connsiteX3" fmla="*/ 4774352 w 4774352"/>
              <a:gd name="connsiteY3" fmla="*/ 6842607 h 6842607"/>
              <a:gd name="connsiteX4" fmla="*/ 1666666 w 4774352"/>
              <a:gd name="connsiteY4" fmla="*/ 6842607 h 6842607"/>
              <a:gd name="connsiteX0" fmla="*/ 1666666 w 4785836"/>
              <a:gd name="connsiteY0" fmla="*/ 6842607 h 6842607"/>
              <a:gd name="connsiteX1" fmla="*/ 0 w 4785836"/>
              <a:gd name="connsiteY1" fmla="*/ 0 h 6842607"/>
              <a:gd name="connsiteX2" fmla="*/ 4785134 w 4785836"/>
              <a:gd name="connsiteY2" fmla="*/ 1 h 6842607"/>
              <a:gd name="connsiteX3" fmla="*/ 4774352 w 4785836"/>
              <a:gd name="connsiteY3" fmla="*/ 6842607 h 6842607"/>
              <a:gd name="connsiteX4" fmla="*/ 1666666 w 4785836"/>
              <a:gd name="connsiteY4" fmla="*/ 6842607 h 6842607"/>
              <a:gd name="connsiteX0" fmla="*/ 1666666 w 4786709"/>
              <a:gd name="connsiteY0" fmla="*/ 6842607 h 6854964"/>
              <a:gd name="connsiteX1" fmla="*/ 0 w 4786709"/>
              <a:gd name="connsiteY1" fmla="*/ 0 h 6854964"/>
              <a:gd name="connsiteX2" fmla="*/ 4785134 w 4786709"/>
              <a:gd name="connsiteY2" fmla="*/ 1 h 6854964"/>
              <a:gd name="connsiteX3" fmla="*/ 4786709 w 4786709"/>
              <a:gd name="connsiteY3" fmla="*/ 6854964 h 6854964"/>
              <a:gd name="connsiteX4" fmla="*/ 1666666 w 4786709"/>
              <a:gd name="connsiteY4" fmla="*/ 6842607 h 6854964"/>
              <a:gd name="connsiteX0" fmla="*/ 1666666 w 4799066"/>
              <a:gd name="connsiteY0" fmla="*/ 6842607 h 6854964"/>
              <a:gd name="connsiteX1" fmla="*/ 0 w 4799066"/>
              <a:gd name="connsiteY1" fmla="*/ 0 h 6854964"/>
              <a:gd name="connsiteX2" fmla="*/ 4785134 w 4799066"/>
              <a:gd name="connsiteY2" fmla="*/ 1 h 6854964"/>
              <a:gd name="connsiteX3" fmla="*/ 4799066 w 4799066"/>
              <a:gd name="connsiteY3" fmla="*/ 6854964 h 6854964"/>
              <a:gd name="connsiteX4" fmla="*/ 1666666 w 4799066"/>
              <a:gd name="connsiteY4" fmla="*/ 6842607 h 6854964"/>
              <a:gd name="connsiteX0" fmla="*/ 1679022 w 4799066"/>
              <a:gd name="connsiteY0" fmla="*/ 6854964 h 6854964"/>
              <a:gd name="connsiteX1" fmla="*/ 0 w 4799066"/>
              <a:gd name="connsiteY1" fmla="*/ 0 h 6854964"/>
              <a:gd name="connsiteX2" fmla="*/ 4785134 w 4799066"/>
              <a:gd name="connsiteY2" fmla="*/ 1 h 6854964"/>
              <a:gd name="connsiteX3" fmla="*/ 4799066 w 4799066"/>
              <a:gd name="connsiteY3" fmla="*/ 6854964 h 6854964"/>
              <a:gd name="connsiteX4" fmla="*/ 1679022 w 4799066"/>
              <a:gd name="connsiteY4" fmla="*/ 6854964 h 6854964"/>
              <a:gd name="connsiteX0" fmla="*/ 1688962 w 4799066"/>
              <a:gd name="connsiteY0" fmla="*/ 6874842 h 6874842"/>
              <a:gd name="connsiteX1" fmla="*/ 0 w 4799066"/>
              <a:gd name="connsiteY1" fmla="*/ 0 h 6874842"/>
              <a:gd name="connsiteX2" fmla="*/ 4785134 w 4799066"/>
              <a:gd name="connsiteY2" fmla="*/ 1 h 6874842"/>
              <a:gd name="connsiteX3" fmla="*/ 4799066 w 4799066"/>
              <a:gd name="connsiteY3" fmla="*/ 6854964 h 6874842"/>
              <a:gd name="connsiteX4" fmla="*/ 1688962 w 4799066"/>
              <a:gd name="connsiteY4" fmla="*/ 6874842 h 6874842"/>
              <a:gd name="connsiteX0" fmla="*/ 1688962 w 4786025"/>
              <a:gd name="connsiteY0" fmla="*/ 6874842 h 6874842"/>
              <a:gd name="connsiteX1" fmla="*/ 0 w 4786025"/>
              <a:gd name="connsiteY1" fmla="*/ 0 h 6874842"/>
              <a:gd name="connsiteX2" fmla="*/ 4785134 w 4786025"/>
              <a:gd name="connsiteY2" fmla="*/ 1 h 6874842"/>
              <a:gd name="connsiteX3" fmla="*/ 4779188 w 4786025"/>
              <a:gd name="connsiteY3" fmla="*/ 6874842 h 6874842"/>
              <a:gd name="connsiteX4" fmla="*/ 1688962 w 4786025"/>
              <a:gd name="connsiteY4" fmla="*/ 6874842 h 6874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86025" h="6874842">
                <a:moveTo>
                  <a:pt x="1688962" y="6874842"/>
                </a:moveTo>
                <a:lnTo>
                  <a:pt x="0" y="0"/>
                </a:lnTo>
                <a:lnTo>
                  <a:pt x="4785134" y="1"/>
                </a:lnTo>
                <a:cubicBezTo>
                  <a:pt x="4789778" y="2276751"/>
                  <a:pt x="4774544" y="4598092"/>
                  <a:pt x="4779188" y="6874842"/>
                </a:cubicBezTo>
                <a:lnTo>
                  <a:pt x="1688962" y="6874842"/>
                </a:lnTo>
                <a:close/>
              </a:path>
            </a:pathLst>
          </a:custGeom>
          <a:ln>
            <a:noFill/>
          </a:ln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941429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98341D7-3558-9447-BD1D-BE7615DAAF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81000" y="6356350"/>
            <a:ext cx="1061720" cy="365125"/>
          </a:xfrm>
        </p:spPr>
        <p:txBody>
          <a:bodyPr/>
          <a:lstStyle/>
          <a:p>
            <a:fld id="{70543B31-20F9-C04C-96D1-5D3BBCCF9BC9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2516A8D-61A7-AE42-BCAD-BA36C055A7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0D4436B-241D-004F-AD6A-BD3B6680667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800"/>
            </a:lvl1pPr>
            <a:lvl2pPr>
              <a:defRPr sz="24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7">
            <a:extLst>
              <a:ext uri="{FF2B5EF4-FFF2-40B4-BE49-F238E27FC236}">
                <a16:creationId xmlns:a16="http://schemas.microsoft.com/office/drawing/2014/main" id="{C58E02FE-A26C-F147-89C7-24DC2DFFA2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590040" y="6356350"/>
            <a:ext cx="4114800" cy="365125"/>
          </a:xfrm>
        </p:spPr>
        <p:txBody>
          <a:bodyPr/>
          <a:lstStyle/>
          <a:p>
            <a:r>
              <a:rPr lang="en-US"/>
              <a:t>Interacción Mensual MINSA-PAV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DC0ABB52-29B5-D24C-A3CB-456825F3EC4C}"/>
              </a:ext>
            </a:extLst>
          </p:cNvPr>
          <p:cNvCxnSpPr>
            <a:cxnSpLocks/>
          </p:cNvCxnSpPr>
          <p:nvPr userDrawn="1"/>
        </p:nvCxnSpPr>
        <p:spPr>
          <a:xfrm>
            <a:off x="370840" y="1463040"/>
            <a:ext cx="11303000" cy="0"/>
          </a:xfrm>
          <a:prstGeom prst="line">
            <a:avLst/>
          </a:prstGeom>
          <a:ln w="19050">
            <a:solidFill>
              <a:srgbClr val="D9D9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067A114A-8BC9-684C-A53E-563952D734A7}"/>
              </a:ext>
            </a:extLst>
          </p:cNvPr>
          <p:cNvCxnSpPr>
            <a:cxnSpLocks/>
          </p:cNvCxnSpPr>
          <p:nvPr userDrawn="1"/>
        </p:nvCxnSpPr>
        <p:spPr>
          <a:xfrm>
            <a:off x="370840" y="284480"/>
            <a:ext cx="11303000" cy="0"/>
          </a:xfrm>
          <a:prstGeom prst="line">
            <a:avLst/>
          </a:prstGeom>
          <a:ln w="19050">
            <a:solidFill>
              <a:srgbClr val="D9D9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364022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3D4741E-9CE0-544B-9697-1CEFFB7C81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543B31-20F9-C04C-96D1-5D3BBCCF9BC9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0896D38-6D29-3D48-9D76-818A61AFB9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14F2D64-FEC6-3140-A56C-22B5BF9E832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FAEB5D4-7775-1B46-949E-CA028ADEE21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AB9C01A-6310-AD47-84C8-C8501B8F98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teracción Mensual MINSA-PAV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7A63510-3FC1-254A-A378-C1BF68C91758}"/>
              </a:ext>
            </a:extLst>
          </p:cNvPr>
          <p:cNvCxnSpPr>
            <a:cxnSpLocks/>
          </p:cNvCxnSpPr>
          <p:nvPr userDrawn="1"/>
        </p:nvCxnSpPr>
        <p:spPr>
          <a:xfrm>
            <a:off x="370840" y="1463040"/>
            <a:ext cx="11303000" cy="0"/>
          </a:xfrm>
          <a:prstGeom prst="line">
            <a:avLst/>
          </a:prstGeom>
          <a:ln w="19050">
            <a:solidFill>
              <a:srgbClr val="D9D9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051A09C4-2E79-9C48-A132-50857D1A3D70}"/>
              </a:ext>
            </a:extLst>
          </p:cNvPr>
          <p:cNvCxnSpPr>
            <a:cxnSpLocks/>
          </p:cNvCxnSpPr>
          <p:nvPr userDrawn="1"/>
        </p:nvCxnSpPr>
        <p:spPr>
          <a:xfrm>
            <a:off x="370840" y="284480"/>
            <a:ext cx="11303000" cy="0"/>
          </a:xfrm>
          <a:prstGeom prst="line">
            <a:avLst/>
          </a:prstGeom>
          <a:ln w="19050">
            <a:solidFill>
              <a:srgbClr val="D9D9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7381886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C540D1-3478-334F-9952-7C51E13A60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543B31-20F9-C04C-96D1-5D3BBCCF9BC9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03A75E-9ABC-234D-A82F-FB7B4EAD24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7F2483B-9145-C74B-87C1-260B1EE082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teracción Mensual MINSA-PAV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4E1D8949-D8EE-504A-AF36-C547FAB6F6C6}"/>
              </a:ext>
            </a:extLst>
          </p:cNvPr>
          <p:cNvCxnSpPr>
            <a:cxnSpLocks/>
          </p:cNvCxnSpPr>
          <p:nvPr userDrawn="1"/>
        </p:nvCxnSpPr>
        <p:spPr>
          <a:xfrm>
            <a:off x="370840" y="1463040"/>
            <a:ext cx="11303000" cy="0"/>
          </a:xfrm>
          <a:prstGeom prst="line">
            <a:avLst/>
          </a:prstGeom>
          <a:ln w="19050">
            <a:solidFill>
              <a:srgbClr val="D9D9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D3FDD8-A547-1449-AF22-69AB24109AA4}"/>
              </a:ext>
            </a:extLst>
          </p:cNvPr>
          <p:cNvCxnSpPr>
            <a:cxnSpLocks/>
          </p:cNvCxnSpPr>
          <p:nvPr userDrawn="1"/>
        </p:nvCxnSpPr>
        <p:spPr>
          <a:xfrm>
            <a:off x="370840" y="284480"/>
            <a:ext cx="11303000" cy="0"/>
          </a:xfrm>
          <a:prstGeom prst="line">
            <a:avLst/>
          </a:prstGeom>
          <a:ln w="19050">
            <a:solidFill>
              <a:srgbClr val="D9D9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050494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E9175A0-A591-4542-A7AF-AE562DD357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543B31-20F9-C04C-96D1-5D3BBCCF9BC9}" type="slidenum">
              <a:rPr lang="en-US" smtClean="0"/>
              <a:t>‹#›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7435F5F-69DE-7141-82F0-CC8FCABB4C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teracción Mensual MINSA-PAVE</a:t>
            </a:r>
          </a:p>
        </p:txBody>
      </p:sp>
    </p:spTree>
    <p:extLst>
      <p:ext uri="{BB962C8B-B14F-4D97-AF65-F5344CB8AC3E}">
        <p14:creationId xmlns:p14="http://schemas.microsoft.com/office/powerpoint/2010/main" val="5507312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Shape&#10;&#10;Description automatically generated with medium confidence">
            <a:extLst>
              <a:ext uri="{FF2B5EF4-FFF2-40B4-BE49-F238E27FC236}">
                <a16:creationId xmlns:a16="http://schemas.microsoft.com/office/drawing/2014/main" id="{DCD6D511-5013-BE41-ABDA-0F8FBBFD6A8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3124200"/>
            <a:ext cx="3454400" cy="37338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C254DA60-59D6-D140-9435-437709D6EED9}"/>
              </a:ext>
            </a:extLst>
          </p:cNvPr>
          <p:cNvSpPr/>
          <p:nvPr userDrawn="1"/>
        </p:nvSpPr>
        <p:spPr>
          <a:xfrm>
            <a:off x="25400" y="15610"/>
            <a:ext cx="11734800" cy="177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31AE576-2D97-F045-8298-01CA4D8366D6}"/>
              </a:ext>
            </a:extLst>
          </p:cNvPr>
          <p:cNvSpPr/>
          <p:nvPr userDrawn="1"/>
        </p:nvSpPr>
        <p:spPr>
          <a:xfrm>
            <a:off x="7586133" y="5080001"/>
            <a:ext cx="4605867" cy="177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7560179-B27B-3E44-A3C8-353F3C1623C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62000" y="1854199"/>
            <a:ext cx="6720840" cy="1655763"/>
          </a:xfrm>
        </p:spPr>
        <p:txBody>
          <a:bodyPr anchor="b">
            <a:normAutofit/>
          </a:bodyPr>
          <a:lstStyle>
            <a:lvl1pPr algn="l">
              <a:lnSpc>
                <a:spcPts val="4400"/>
              </a:lnSpc>
              <a:defRPr sz="4400">
                <a:solidFill>
                  <a:srgbClr val="004F7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C0565EF-E3F8-974C-BCE0-32A5F59CBB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6370320" cy="1655762"/>
          </a:xfrm>
        </p:spPr>
        <p:txBody>
          <a:bodyPr>
            <a:normAutofit/>
          </a:bodyPr>
          <a:lstStyle>
            <a:lvl1pPr marL="0" indent="0" algn="l">
              <a:buNone/>
              <a:defRPr sz="1800" b="0">
                <a:solidFill>
                  <a:srgbClr val="004F7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1" name="Trapezoid 10">
            <a:extLst>
              <a:ext uri="{FF2B5EF4-FFF2-40B4-BE49-F238E27FC236}">
                <a16:creationId xmlns:a16="http://schemas.microsoft.com/office/drawing/2014/main" id="{FFCA805D-03DD-E047-94B9-8EA5A72B3EEF}"/>
              </a:ext>
            </a:extLst>
          </p:cNvPr>
          <p:cNvSpPr/>
          <p:nvPr userDrawn="1"/>
        </p:nvSpPr>
        <p:spPr>
          <a:xfrm flipV="1">
            <a:off x="6771640" y="-848"/>
            <a:ext cx="5521960" cy="6858000"/>
          </a:xfrm>
          <a:prstGeom prst="trapezoid">
            <a:avLst>
              <a:gd name="adj" fmla="val 42030"/>
            </a:avLst>
          </a:prstGeom>
          <a:solidFill>
            <a:srgbClr val="FF7F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A944427-0D9D-5F46-9110-BA3802EF1ED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417648" y="-481"/>
            <a:ext cx="4789127" cy="6864903"/>
          </a:xfrm>
          <a:custGeom>
            <a:avLst/>
            <a:gdLst>
              <a:gd name="connsiteX0" fmla="*/ 0 w 4995862"/>
              <a:gd name="connsiteY0" fmla="*/ 6842125 h 6842125"/>
              <a:gd name="connsiteX1" fmla="*/ 1248966 w 4995862"/>
              <a:gd name="connsiteY1" fmla="*/ 0 h 6842125"/>
              <a:gd name="connsiteX2" fmla="*/ 3746897 w 4995862"/>
              <a:gd name="connsiteY2" fmla="*/ 0 h 6842125"/>
              <a:gd name="connsiteX3" fmla="*/ 4995862 w 4995862"/>
              <a:gd name="connsiteY3" fmla="*/ 6842125 h 6842125"/>
              <a:gd name="connsiteX4" fmla="*/ 0 w 4995862"/>
              <a:gd name="connsiteY4" fmla="*/ 6842125 h 6842125"/>
              <a:gd name="connsiteX0" fmla="*/ 0 w 4995862"/>
              <a:gd name="connsiteY0" fmla="*/ 6842125 h 6842125"/>
              <a:gd name="connsiteX1" fmla="*/ 227688 w 4995862"/>
              <a:gd name="connsiteY1" fmla="*/ 11875 h 6842125"/>
              <a:gd name="connsiteX2" fmla="*/ 3746897 w 4995862"/>
              <a:gd name="connsiteY2" fmla="*/ 0 h 6842125"/>
              <a:gd name="connsiteX3" fmla="*/ 4995862 w 4995862"/>
              <a:gd name="connsiteY3" fmla="*/ 6842125 h 6842125"/>
              <a:gd name="connsiteX4" fmla="*/ 0 w 4995862"/>
              <a:gd name="connsiteY4" fmla="*/ 6842125 h 6842125"/>
              <a:gd name="connsiteX0" fmla="*/ 1660488 w 4768174"/>
              <a:gd name="connsiteY0" fmla="*/ 6842125 h 6842125"/>
              <a:gd name="connsiteX1" fmla="*/ 0 w 4768174"/>
              <a:gd name="connsiteY1" fmla="*/ 11875 h 6842125"/>
              <a:gd name="connsiteX2" fmla="*/ 3519209 w 4768174"/>
              <a:gd name="connsiteY2" fmla="*/ 0 h 6842125"/>
              <a:gd name="connsiteX3" fmla="*/ 4768174 w 4768174"/>
              <a:gd name="connsiteY3" fmla="*/ 6842125 h 6842125"/>
              <a:gd name="connsiteX4" fmla="*/ 1660488 w 4768174"/>
              <a:gd name="connsiteY4" fmla="*/ 6842125 h 6842125"/>
              <a:gd name="connsiteX0" fmla="*/ 1660488 w 4768174"/>
              <a:gd name="connsiteY0" fmla="*/ 6830250 h 6830250"/>
              <a:gd name="connsiteX1" fmla="*/ 0 w 4768174"/>
              <a:gd name="connsiteY1" fmla="*/ 0 h 6830250"/>
              <a:gd name="connsiteX2" fmla="*/ 4754243 w 4768174"/>
              <a:gd name="connsiteY2" fmla="*/ 1 h 6830250"/>
              <a:gd name="connsiteX3" fmla="*/ 4768174 w 4768174"/>
              <a:gd name="connsiteY3" fmla="*/ 6830250 h 6830250"/>
              <a:gd name="connsiteX4" fmla="*/ 1660488 w 4768174"/>
              <a:gd name="connsiteY4" fmla="*/ 6830250 h 6830250"/>
              <a:gd name="connsiteX0" fmla="*/ 1666666 w 4774352"/>
              <a:gd name="connsiteY0" fmla="*/ 6842607 h 6842607"/>
              <a:gd name="connsiteX1" fmla="*/ 0 w 4774352"/>
              <a:gd name="connsiteY1" fmla="*/ 0 h 6842607"/>
              <a:gd name="connsiteX2" fmla="*/ 4760421 w 4774352"/>
              <a:gd name="connsiteY2" fmla="*/ 12358 h 6842607"/>
              <a:gd name="connsiteX3" fmla="*/ 4774352 w 4774352"/>
              <a:gd name="connsiteY3" fmla="*/ 6842607 h 6842607"/>
              <a:gd name="connsiteX4" fmla="*/ 1666666 w 4774352"/>
              <a:gd name="connsiteY4" fmla="*/ 6842607 h 6842607"/>
              <a:gd name="connsiteX0" fmla="*/ 1666666 w 4785836"/>
              <a:gd name="connsiteY0" fmla="*/ 6842607 h 6842607"/>
              <a:gd name="connsiteX1" fmla="*/ 0 w 4785836"/>
              <a:gd name="connsiteY1" fmla="*/ 0 h 6842607"/>
              <a:gd name="connsiteX2" fmla="*/ 4785134 w 4785836"/>
              <a:gd name="connsiteY2" fmla="*/ 1 h 6842607"/>
              <a:gd name="connsiteX3" fmla="*/ 4774352 w 4785836"/>
              <a:gd name="connsiteY3" fmla="*/ 6842607 h 6842607"/>
              <a:gd name="connsiteX4" fmla="*/ 1666666 w 4785836"/>
              <a:gd name="connsiteY4" fmla="*/ 6842607 h 6842607"/>
              <a:gd name="connsiteX0" fmla="*/ 1666666 w 4786709"/>
              <a:gd name="connsiteY0" fmla="*/ 6842607 h 6854964"/>
              <a:gd name="connsiteX1" fmla="*/ 0 w 4786709"/>
              <a:gd name="connsiteY1" fmla="*/ 0 h 6854964"/>
              <a:gd name="connsiteX2" fmla="*/ 4785134 w 4786709"/>
              <a:gd name="connsiteY2" fmla="*/ 1 h 6854964"/>
              <a:gd name="connsiteX3" fmla="*/ 4786709 w 4786709"/>
              <a:gd name="connsiteY3" fmla="*/ 6854964 h 6854964"/>
              <a:gd name="connsiteX4" fmla="*/ 1666666 w 4786709"/>
              <a:gd name="connsiteY4" fmla="*/ 6842607 h 6854964"/>
              <a:gd name="connsiteX0" fmla="*/ 1666666 w 4799066"/>
              <a:gd name="connsiteY0" fmla="*/ 6842607 h 6854964"/>
              <a:gd name="connsiteX1" fmla="*/ 0 w 4799066"/>
              <a:gd name="connsiteY1" fmla="*/ 0 h 6854964"/>
              <a:gd name="connsiteX2" fmla="*/ 4785134 w 4799066"/>
              <a:gd name="connsiteY2" fmla="*/ 1 h 6854964"/>
              <a:gd name="connsiteX3" fmla="*/ 4799066 w 4799066"/>
              <a:gd name="connsiteY3" fmla="*/ 6854964 h 6854964"/>
              <a:gd name="connsiteX4" fmla="*/ 1666666 w 4799066"/>
              <a:gd name="connsiteY4" fmla="*/ 6842607 h 6854964"/>
              <a:gd name="connsiteX0" fmla="*/ 1679022 w 4799066"/>
              <a:gd name="connsiteY0" fmla="*/ 6854964 h 6854964"/>
              <a:gd name="connsiteX1" fmla="*/ 0 w 4799066"/>
              <a:gd name="connsiteY1" fmla="*/ 0 h 6854964"/>
              <a:gd name="connsiteX2" fmla="*/ 4785134 w 4799066"/>
              <a:gd name="connsiteY2" fmla="*/ 1 h 6854964"/>
              <a:gd name="connsiteX3" fmla="*/ 4799066 w 4799066"/>
              <a:gd name="connsiteY3" fmla="*/ 6854964 h 6854964"/>
              <a:gd name="connsiteX4" fmla="*/ 1679022 w 4799066"/>
              <a:gd name="connsiteY4" fmla="*/ 6854964 h 6854964"/>
              <a:gd name="connsiteX0" fmla="*/ 1679022 w 4789127"/>
              <a:gd name="connsiteY0" fmla="*/ 6854964 h 6864903"/>
              <a:gd name="connsiteX1" fmla="*/ 0 w 4789127"/>
              <a:gd name="connsiteY1" fmla="*/ 0 h 6864903"/>
              <a:gd name="connsiteX2" fmla="*/ 4785134 w 4789127"/>
              <a:gd name="connsiteY2" fmla="*/ 1 h 6864903"/>
              <a:gd name="connsiteX3" fmla="*/ 4789127 w 4789127"/>
              <a:gd name="connsiteY3" fmla="*/ 6864903 h 6864903"/>
              <a:gd name="connsiteX4" fmla="*/ 1679022 w 4789127"/>
              <a:gd name="connsiteY4" fmla="*/ 6854964 h 6864903"/>
              <a:gd name="connsiteX0" fmla="*/ 1679022 w 4789127"/>
              <a:gd name="connsiteY0" fmla="*/ 6864903 h 6864903"/>
              <a:gd name="connsiteX1" fmla="*/ 0 w 4789127"/>
              <a:gd name="connsiteY1" fmla="*/ 0 h 6864903"/>
              <a:gd name="connsiteX2" fmla="*/ 4785134 w 4789127"/>
              <a:gd name="connsiteY2" fmla="*/ 1 h 6864903"/>
              <a:gd name="connsiteX3" fmla="*/ 4789127 w 4789127"/>
              <a:gd name="connsiteY3" fmla="*/ 6864903 h 6864903"/>
              <a:gd name="connsiteX4" fmla="*/ 1679022 w 4789127"/>
              <a:gd name="connsiteY4" fmla="*/ 6864903 h 68649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89127" h="6864903">
                <a:moveTo>
                  <a:pt x="1679022" y="6864903"/>
                </a:moveTo>
                <a:lnTo>
                  <a:pt x="0" y="0"/>
                </a:lnTo>
                <a:lnTo>
                  <a:pt x="4785134" y="1"/>
                </a:lnTo>
                <a:cubicBezTo>
                  <a:pt x="4789778" y="2276751"/>
                  <a:pt x="4784483" y="4588153"/>
                  <a:pt x="4789127" y="6864903"/>
                </a:cubicBezTo>
                <a:lnTo>
                  <a:pt x="1679022" y="6864903"/>
                </a:lnTo>
                <a:close/>
              </a:path>
            </a:pathLst>
          </a:custGeom>
          <a:ln>
            <a:noFill/>
          </a:ln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757816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Divider_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BC03668-76DC-DA45-9847-D15DAAB65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teracción Mensual MINSA-PAV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1F6D97B-BD88-9746-A448-E8C4D9E5D7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543B31-20F9-C04C-96D1-5D3BBCCF9BC9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E19AFE9-267A-1646-AE5B-69C8EE0845F2}"/>
              </a:ext>
            </a:extLst>
          </p:cNvPr>
          <p:cNvSpPr/>
          <p:nvPr userDrawn="1"/>
        </p:nvSpPr>
        <p:spPr>
          <a:xfrm>
            <a:off x="76200" y="0"/>
            <a:ext cx="11734800" cy="177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FD8416F-7979-6749-B334-63B4BD8ADA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740729"/>
            <a:ext cx="10515600" cy="2852737"/>
          </a:xfrm>
        </p:spPr>
        <p:txBody>
          <a:bodyPr anchor="b">
            <a:normAutofit/>
          </a:bodyPr>
          <a:lstStyle>
            <a:lvl1pPr>
              <a:lnSpc>
                <a:spcPts val="4400"/>
              </a:lnSpc>
              <a:defRPr sz="4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9909F22-2591-5742-AAC5-B47BDEB185B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3620454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418364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BC03668-76DC-DA45-9847-D15DAAB65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teracción Mensual MINSA-PAV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1F6D97B-BD88-9746-A448-E8C4D9E5D7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543B31-20F9-C04C-96D1-5D3BBCCF9BC9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FD8416F-7979-6749-B334-63B4BD8ADA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740729"/>
            <a:ext cx="6180084" cy="2852737"/>
          </a:xfrm>
        </p:spPr>
        <p:txBody>
          <a:bodyPr anchor="b">
            <a:normAutofit/>
          </a:bodyPr>
          <a:lstStyle>
            <a:lvl1pPr>
              <a:lnSpc>
                <a:spcPts val="4400"/>
              </a:lnSpc>
              <a:defRPr sz="4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9909F22-2591-5742-AAC5-B47BDEB185B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3620454"/>
            <a:ext cx="704215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rapezoid 7">
            <a:extLst>
              <a:ext uri="{FF2B5EF4-FFF2-40B4-BE49-F238E27FC236}">
                <a16:creationId xmlns:a16="http://schemas.microsoft.com/office/drawing/2014/main" id="{CB9FA14E-73C0-C94A-84EC-391B43DD2F13}"/>
              </a:ext>
            </a:extLst>
          </p:cNvPr>
          <p:cNvSpPr/>
          <p:nvPr userDrawn="1"/>
        </p:nvSpPr>
        <p:spPr>
          <a:xfrm flipV="1">
            <a:off x="6771640" y="-848"/>
            <a:ext cx="5521960" cy="6858000"/>
          </a:xfrm>
          <a:prstGeom prst="trapezoid">
            <a:avLst>
              <a:gd name="adj" fmla="val 42030"/>
            </a:avLst>
          </a:prstGeom>
          <a:solidFill>
            <a:srgbClr val="368A9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946042FC-2D92-DD4D-A848-29628EA0431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417648" y="-481"/>
            <a:ext cx="4786025" cy="6874842"/>
          </a:xfrm>
          <a:custGeom>
            <a:avLst/>
            <a:gdLst>
              <a:gd name="connsiteX0" fmla="*/ 0 w 4995862"/>
              <a:gd name="connsiteY0" fmla="*/ 6842125 h 6842125"/>
              <a:gd name="connsiteX1" fmla="*/ 1248966 w 4995862"/>
              <a:gd name="connsiteY1" fmla="*/ 0 h 6842125"/>
              <a:gd name="connsiteX2" fmla="*/ 3746897 w 4995862"/>
              <a:gd name="connsiteY2" fmla="*/ 0 h 6842125"/>
              <a:gd name="connsiteX3" fmla="*/ 4995862 w 4995862"/>
              <a:gd name="connsiteY3" fmla="*/ 6842125 h 6842125"/>
              <a:gd name="connsiteX4" fmla="*/ 0 w 4995862"/>
              <a:gd name="connsiteY4" fmla="*/ 6842125 h 6842125"/>
              <a:gd name="connsiteX0" fmla="*/ 0 w 4995862"/>
              <a:gd name="connsiteY0" fmla="*/ 6842125 h 6842125"/>
              <a:gd name="connsiteX1" fmla="*/ 227688 w 4995862"/>
              <a:gd name="connsiteY1" fmla="*/ 11875 h 6842125"/>
              <a:gd name="connsiteX2" fmla="*/ 3746897 w 4995862"/>
              <a:gd name="connsiteY2" fmla="*/ 0 h 6842125"/>
              <a:gd name="connsiteX3" fmla="*/ 4995862 w 4995862"/>
              <a:gd name="connsiteY3" fmla="*/ 6842125 h 6842125"/>
              <a:gd name="connsiteX4" fmla="*/ 0 w 4995862"/>
              <a:gd name="connsiteY4" fmla="*/ 6842125 h 6842125"/>
              <a:gd name="connsiteX0" fmla="*/ 1660488 w 4768174"/>
              <a:gd name="connsiteY0" fmla="*/ 6842125 h 6842125"/>
              <a:gd name="connsiteX1" fmla="*/ 0 w 4768174"/>
              <a:gd name="connsiteY1" fmla="*/ 11875 h 6842125"/>
              <a:gd name="connsiteX2" fmla="*/ 3519209 w 4768174"/>
              <a:gd name="connsiteY2" fmla="*/ 0 h 6842125"/>
              <a:gd name="connsiteX3" fmla="*/ 4768174 w 4768174"/>
              <a:gd name="connsiteY3" fmla="*/ 6842125 h 6842125"/>
              <a:gd name="connsiteX4" fmla="*/ 1660488 w 4768174"/>
              <a:gd name="connsiteY4" fmla="*/ 6842125 h 6842125"/>
              <a:gd name="connsiteX0" fmla="*/ 1660488 w 4768174"/>
              <a:gd name="connsiteY0" fmla="*/ 6830250 h 6830250"/>
              <a:gd name="connsiteX1" fmla="*/ 0 w 4768174"/>
              <a:gd name="connsiteY1" fmla="*/ 0 h 6830250"/>
              <a:gd name="connsiteX2" fmla="*/ 4754243 w 4768174"/>
              <a:gd name="connsiteY2" fmla="*/ 1 h 6830250"/>
              <a:gd name="connsiteX3" fmla="*/ 4768174 w 4768174"/>
              <a:gd name="connsiteY3" fmla="*/ 6830250 h 6830250"/>
              <a:gd name="connsiteX4" fmla="*/ 1660488 w 4768174"/>
              <a:gd name="connsiteY4" fmla="*/ 6830250 h 6830250"/>
              <a:gd name="connsiteX0" fmla="*/ 1666666 w 4774352"/>
              <a:gd name="connsiteY0" fmla="*/ 6842607 h 6842607"/>
              <a:gd name="connsiteX1" fmla="*/ 0 w 4774352"/>
              <a:gd name="connsiteY1" fmla="*/ 0 h 6842607"/>
              <a:gd name="connsiteX2" fmla="*/ 4760421 w 4774352"/>
              <a:gd name="connsiteY2" fmla="*/ 12358 h 6842607"/>
              <a:gd name="connsiteX3" fmla="*/ 4774352 w 4774352"/>
              <a:gd name="connsiteY3" fmla="*/ 6842607 h 6842607"/>
              <a:gd name="connsiteX4" fmla="*/ 1666666 w 4774352"/>
              <a:gd name="connsiteY4" fmla="*/ 6842607 h 6842607"/>
              <a:gd name="connsiteX0" fmla="*/ 1666666 w 4785836"/>
              <a:gd name="connsiteY0" fmla="*/ 6842607 h 6842607"/>
              <a:gd name="connsiteX1" fmla="*/ 0 w 4785836"/>
              <a:gd name="connsiteY1" fmla="*/ 0 h 6842607"/>
              <a:gd name="connsiteX2" fmla="*/ 4785134 w 4785836"/>
              <a:gd name="connsiteY2" fmla="*/ 1 h 6842607"/>
              <a:gd name="connsiteX3" fmla="*/ 4774352 w 4785836"/>
              <a:gd name="connsiteY3" fmla="*/ 6842607 h 6842607"/>
              <a:gd name="connsiteX4" fmla="*/ 1666666 w 4785836"/>
              <a:gd name="connsiteY4" fmla="*/ 6842607 h 6842607"/>
              <a:gd name="connsiteX0" fmla="*/ 1666666 w 4786709"/>
              <a:gd name="connsiteY0" fmla="*/ 6842607 h 6854964"/>
              <a:gd name="connsiteX1" fmla="*/ 0 w 4786709"/>
              <a:gd name="connsiteY1" fmla="*/ 0 h 6854964"/>
              <a:gd name="connsiteX2" fmla="*/ 4785134 w 4786709"/>
              <a:gd name="connsiteY2" fmla="*/ 1 h 6854964"/>
              <a:gd name="connsiteX3" fmla="*/ 4786709 w 4786709"/>
              <a:gd name="connsiteY3" fmla="*/ 6854964 h 6854964"/>
              <a:gd name="connsiteX4" fmla="*/ 1666666 w 4786709"/>
              <a:gd name="connsiteY4" fmla="*/ 6842607 h 6854964"/>
              <a:gd name="connsiteX0" fmla="*/ 1666666 w 4799066"/>
              <a:gd name="connsiteY0" fmla="*/ 6842607 h 6854964"/>
              <a:gd name="connsiteX1" fmla="*/ 0 w 4799066"/>
              <a:gd name="connsiteY1" fmla="*/ 0 h 6854964"/>
              <a:gd name="connsiteX2" fmla="*/ 4785134 w 4799066"/>
              <a:gd name="connsiteY2" fmla="*/ 1 h 6854964"/>
              <a:gd name="connsiteX3" fmla="*/ 4799066 w 4799066"/>
              <a:gd name="connsiteY3" fmla="*/ 6854964 h 6854964"/>
              <a:gd name="connsiteX4" fmla="*/ 1666666 w 4799066"/>
              <a:gd name="connsiteY4" fmla="*/ 6842607 h 6854964"/>
              <a:gd name="connsiteX0" fmla="*/ 1679022 w 4799066"/>
              <a:gd name="connsiteY0" fmla="*/ 6854964 h 6854964"/>
              <a:gd name="connsiteX1" fmla="*/ 0 w 4799066"/>
              <a:gd name="connsiteY1" fmla="*/ 0 h 6854964"/>
              <a:gd name="connsiteX2" fmla="*/ 4785134 w 4799066"/>
              <a:gd name="connsiteY2" fmla="*/ 1 h 6854964"/>
              <a:gd name="connsiteX3" fmla="*/ 4799066 w 4799066"/>
              <a:gd name="connsiteY3" fmla="*/ 6854964 h 6854964"/>
              <a:gd name="connsiteX4" fmla="*/ 1679022 w 4799066"/>
              <a:gd name="connsiteY4" fmla="*/ 6854964 h 6854964"/>
              <a:gd name="connsiteX0" fmla="*/ 1688962 w 4799066"/>
              <a:gd name="connsiteY0" fmla="*/ 6874842 h 6874842"/>
              <a:gd name="connsiteX1" fmla="*/ 0 w 4799066"/>
              <a:gd name="connsiteY1" fmla="*/ 0 h 6874842"/>
              <a:gd name="connsiteX2" fmla="*/ 4785134 w 4799066"/>
              <a:gd name="connsiteY2" fmla="*/ 1 h 6874842"/>
              <a:gd name="connsiteX3" fmla="*/ 4799066 w 4799066"/>
              <a:gd name="connsiteY3" fmla="*/ 6854964 h 6874842"/>
              <a:gd name="connsiteX4" fmla="*/ 1688962 w 4799066"/>
              <a:gd name="connsiteY4" fmla="*/ 6874842 h 6874842"/>
              <a:gd name="connsiteX0" fmla="*/ 1688962 w 4786025"/>
              <a:gd name="connsiteY0" fmla="*/ 6874842 h 6874842"/>
              <a:gd name="connsiteX1" fmla="*/ 0 w 4786025"/>
              <a:gd name="connsiteY1" fmla="*/ 0 h 6874842"/>
              <a:gd name="connsiteX2" fmla="*/ 4785134 w 4786025"/>
              <a:gd name="connsiteY2" fmla="*/ 1 h 6874842"/>
              <a:gd name="connsiteX3" fmla="*/ 4779188 w 4786025"/>
              <a:gd name="connsiteY3" fmla="*/ 6874842 h 6874842"/>
              <a:gd name="connsiteX4" fmla="*/ 1688962 w 4786025"/>
              <a:gd name="connsiteY4" fmla="*/ 6874842 h 6874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86025" h="6874842">
                <a:moveTo>
                  <a:pt x="1688962" y="6874842"/>
                </a:moveTo>
                <a:lnTo>
                  <a:pt x="0" y="0"/>
                </a:lnTo>
                <a:lnTo>
                  <a:pt x="4785134" y="1"/>
                </a:lnTo>
                <a:cubicBezTo>
                  <a:pt x="4789778" y="2276751"/>
                  <a:pt x="4774544" y="4598092"/>
                  <a:pt x="4779188" y="6874842"/>
                </a:cubicBezTo>
                <a:lnTo>
                  <a:pt x="1688962" y="6874842"/>
                </a:lnTo>
                <a:close/>
              </a:path>
            </a:pathLst>
          </a:custGeom>
          <a:ln>
            <a:noFill/>
          </a:ln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484282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98341D7-3558-9447-BD1D-BE7615DAAF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81000" y="6356350"/>
            <a:ext cx="1041400" cy="365125"/>
          </a:xfrm>
        </p:spPr>
        <p:txBody>
          <a:bodyPr/>
          <a:lstStyle/>
          <a:p>
            <a:fld id="{70543B31-20F9-C04C-96D1-5D3BBCCF9BC9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2516A8D-61A7-AE42-BCAD-BA36C055A7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0D4436B-241D-004F-AD6A-BD3B6680667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28600" indent="-228600">
              <a:buFont typeface="Wingdings" pitchFamily="2" charset="2"/>
              <a:buChar char="§"/>
              <a:defRPr sz="2800"/>
            </a:lvl1pPr>
            <a:lvl2pPr>
              <a:defRPr sz="24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43F33D0-7355-D54C-835C-74AEF978FC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590040" y="6356350"/>
            <a:ext cx="4114800" cy="365125"/>
          </a:xfrm>
        </p:spPr>
        <p:txBody>
          <a:bodyPr/>
          <a:lstStyle/>
          <a:p>
            <a:r>
              <a:rPr lang="en-US"/>
              <a:t>Interacción Mensual MINSA-PAV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23901FF-5E2C-4945-8ABE-98FC9CE659C6}"/>
              </a:ext>
            </a:extLst>
          </p:cNvPr>
          <p:cNvCxnSpPr>
            <a:cxnSpLocks/>
          </p:cNvCxnSpPr>
          <p:nvPr userDrawn="1"/>
        </p:nvCxnSpPr>
        <p:spPr>
          <a:xfrm>
            <a:off x="370840" y="1497330"/>
            <a:ext cx="11303000" cy="0"/>
          </a:xfrm>
          <a:prstGeom prst="line">
            <a:avLst/>
          </a:prstGeom>
          <a:ln w="19050">
            <a:solidFill>
              <a:srgbClr val="D9D9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28DF95D-98A7-FB4D-8FEC-EE73DA889C3C}"/>
              </a:ext>
            </a:extLst>
          </p:cNvPr>
          <p:cNvCxnSpPr>
            <a:cxnSpLocks/>
          </p:cNvCxnSpPr>
          <p:nvPr userDrawn="1"/>
        </p:nvCxnSpPr>
        <p:spPr>
          <a:xfrm>
            <a:off x="370840" y="284480"/>
            <a:ext cx="11303000" cy="0"/>
          </a:xfrm>
          <a:prstGeom prst="line">
            <a:avLst/>
          </a:prstGeom>
          <a:ln w="19050">
            <a:solidFill>
              <a:srgbClr val="D9D9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751706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3D4741E-9CE0-544B-9697-1CEFFB7C81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543B31-20F9-C04C-96D1-5D3BBCCF9BC9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0896D38-6D29-3D48-9D76-818A61AFB9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14F2D64-FEC6-3140-A56C-22B5BF9E832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81000" y="1825625"/>
            <a:ext cx="56388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FAEB5D4-7775-1B46-949E-CA028ADEE21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50164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AB9C01A-6310-AD47-84C8-C8501B8F98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teracción Mensual MINSA-PAV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27A46CAD-F229-534D-9565-47C22913DFAB}"/>
              </a:ext>
            </a:extLst>
          </p:cNvPr>
          <p:cNvCxnSpPr>
            <a:cxnSpLocks/>
          </p:cNvCxnSpPr>
          <p:nvPr userDrawn="1"/>
        </p:nvCxnSpPr>
        <p:spPr>
          <a:xfrm>
            <a:off x="370840" y="1463040"/>
            <a:ext cx="11303000" cy="0"/>
          </a:xfrm>
          <a:prstGeom prst="line">
            <a:avLst/>
          </a:prstGeom>
          <a:ln w="19050">
            <a:solidFill>
              <a:srgbClr val="D9D9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FC456FE-8453-504D-A746-41353F5EA224}"/>
              </a:ext>
            </a:extLst>
          </p:cNvPr>
          <p:cNvCxnSpPr>
            <a:cxnSpLocks/>
          </p:cNvCxnSpPr>
          <p:nvPr userDrawn="1"/>
        </p:nvCxnSpPr>
        <p:spPr>
          <a:xfrm>
            <a:off x="370840" y="284480"/>
            <a:ext cx="11303000" cy="0"/>
          </a:xfrm>
          <a:prstGeom prst="line">
            <a:avLst/>
          </a:prstGeom>
          <a:ln w="19050">
            <a:solidFill>
              <a:srgbClr val="D9D9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3872676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03A75E-9ABC-234D-A82F-FB7B4EAD24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7F2483B-9145-C74B-87C1-260B1EE082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teracción Mensual MINSA-PAV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C540D1-3478-334F-9952-7C51E13A60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543B31-20F9-C04C-96D1-5D3BBCCF9BC9}" type="slidenum">
              <a:rPr lang="en-US" smtClean="0"/>
              <a:t>‹#›</a:t>
            </a:fld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BF12914-D457-CA48-BA0F-F325D28442E0}"/>
              </a:ext>
            </a:extLst>
          </p:cNvPr>
          <p:cNvCxnSpPr>
            <a:cxnSpLocks/>
          </p:cNvCxnSpPr>
          <p:nvPr userDrawn="1"/>
        </p:nvCxnSpPr>
        <p:spPr>
          <a:xfrm>
            <a:off x="370840" y="1609997"/>
            <a:ext cx="11303000" cy="0"/>
          </a:xfrm>
          <a:prstGeom prst="line">
            <a:avLst/>
          </a:prstGeom>
          <a:ln w="19050">
            <a:solidFill>
              <a:srgbClr val="D9D9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7803A401-CC17-EE4E-A470-020FB2A43990}"/>
              </a:ext>
            </a:extLst>
          </p:cNvPr>
          <p:cNvCxnSpPr>
            <a:cxnSpLocks/>
          </p:cNvCxnSpPr>
          <p:nvPr userDrawn="1"/>
        </p:nvCxnSpPr>
        <p:spPr>
          <a:xfrm>
            <a:off x="370840" y="284480"/>
            <a:ext cx="11303000" cy="0"/>
          </a:xfrm>
          <a:prstGeom prst="line">
            <a:avLst/>
          </a:prstGeom>
          <a:ln w="19050">
            <a:solidFill>
              <a:srgbClr val="D9D9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3218444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E9175A0-A591-4542-A7AF-AE562DD357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543B31-20F9-C04C-96D1-5D3BBCCF9BC9}" type="slidenum">
              <a:rPr lang="en-US" smtClean="0"/>
              <a:t>‹#›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7435F5F-69DE-7141-82F0-CC8FCABB4C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teracción Mensual MINSA-PAVE</a:t>
            </a:r>
          </a:p>
        </p:txBody>
      </p:sp>
    </p:spTree>
    <p:extLst>
      <p:ext uri="{BB962C8B-B14F-4D97-AF65-F5344CB8AC3E}">
        <p14:creationId xmlns:p14="http://schemas.microsoft.com/office/powerpoint/2010/main" val="29198136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23336" y="215921"/>
            <a:ext cx="11482917" cy="7032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4" name="Content Placeholder 12"/>
          <p:cNvSpPr>
            <a:spLocks noGrp="1"/>
          </p:cNvSpPr>
          <p:nvPr>
            <p:ph sz="quarter" idx="12"/>
          </p:nvPr>
        </p:nvSpPr>
        <p:spPr>
          <a:xfrm>
            <a:off x="423333" y="1344614"/>
            <a:ext cx="11277600" cy="2222853"/>
          </a:xfrm>
          <a:prstGeom prst="rect">
            <a:avLst/>
          </a:prstGeom>
          <a:noFill/>
        </p:spPr>
        <p:txBody>
          <a:bodyPr/>
          <a:lstStyle>
            <a:lvl4pPr>
              <a:defRPr b="0"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81540600"/>
      </p:ext>
    </p:extLst>
  </p:cSld>
  <p:clrMapOvr>
    <a:masterClrMapping/>
  </p:clrMapOvr>
  <p:transition spd="slow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image" Target="../media/image6.png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oleObject" Target="../embeddings/oleObject2.bin"/><Relationship Id="rId5" Type="http://schemas.openxmlformats.org/officeDocument/2006/relationships/slideLayout" Target="../slideLayouts/slideLayout15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14.xml"/><Relationship Id="rId9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5305C9B-0560-4832-A258-B8F9C08E7D3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8744429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526" imgH="526" progId="TCLayout.ActiveDocument.1">
                  <p:embed/>
                </p:oleObj>
              </mc:Choice>
              <mc:Fallback>
                <p:oleObj name="think-cell Slide" r:id="rId13" imgW="526" imgH="52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5305C9B-0560-4832-A258-B8F9C08E7D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 descr="Icon&#10;&#10;Description automatically generated">
            <a:extLst>
              <a:ext uri="{FF2B5EF4-FFF2-40B4-BE49-F238E27FC236}">
                <a16:creationId xmlns:a16="http://schemas.microsoft.com/office/drawing/2014/main" id="{71D0F57D-2B48-2E42-B7FA-D435652C4959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10185400" y="5791200"/>
            <a:ext cx="2006600" cy="1066800"/>
          </a:xfrm>
          <a:prstGeom prst="rect">
            <a:avLst/>
          </a:prstGeom>
        </p:spPr>
      </p:pic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B29D39D-DBA2-F645-9904-B744B421EB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65125"/>
            <a:ext cx="11303000" cy="102679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5DF90E2-288F-0A4B-85A4-357FD5C34B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1000" y="1825625"/>
            <a:ext cx="11303000" cy="2222853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BB5BB91-F668-F349-A699-A97F9077EAC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9004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Interacción Mensual MINSA-PAV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3CD93E1-64F8-354F-A137-0D4EEE33F9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1000" y="6356350"/>
            <a:ext cx="1092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0543B31-20F9-C04C-96D1-5D3BBCCF9BC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08147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8" r:id="rId2"/>
    <p:sldLayoutId id="2147483651" r:id="rId3"/>
    <p:sldLayoutId id="2147483666" r:id="rId4"/>
    <p:sldLayoutId id="2147483650" r:id="rId5"/>
    <p:sldLayoutId id="2147483652" r:id="rId6"/>
    <p:sldLayoutId id="2147483654" r:id="rId7"/>
    <p:sldLayoutId id="2147483653" r:id="rId8"/>
    <p:sldLayoutId id="2147483669" r:id="rId9"/>
    <p:sldLayoutId id="2147483670" r:id="rId10"/>
  </p:sldLayoutIdLst>
  <p:hf hdr="0" dt="0"/>
  <p:txStyles>
    <p:titleStyle>
      <a:lvl1pPr marL="9525" indent="0" algn="l" defTabSz="914400" rtl="0" eaLnBrk="1" latinLnBrk="0" hangingPunct="1">
        <a:lnSpc>
          <a:spcPts val="3600"/>
        </a:lnSpc>
        <a:spcBef>
          <a:spcPct val="0"/>
        </a:spcBef>
        <a:buNone/>
        <a:tabLst/>
        <a:defRPr sz="3600" kern="1200">
          <a:solidFill>
            <a:srgbClr val="FF7F5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50000"/>
        </a:lnSpc>
        <a:spcBef>
          <a:spcPts val="1000"/>
        </a:spcBef>
        <a:buClr>
          <a:srgbClr val="004F71"/>
        </a:buClr>
        <a:buFont typeface="Wingdings" pitchFamily="2" charset="2"/>
        <a:buChar char="§"/>
        <a:defRPr sz="2400" b="1" kern="1200">
          <a:solidFill>
            <a:srgbClr val="004F7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25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rgbClr val="FF7F5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25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rgbClr val="368A96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25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25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bg1">
              <a:lumMod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4F7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B71D8C1-ED2B-44D4-ACB6-E68243ED686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0489436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526" imgH="526" progId="TCLayout.ActiveDocument.1">
                  <p:embed/>
                </p:oleObj>
              </mc:Choice>
              <mc:Fallback>
                <p:oleObj name="think-cell Slide" r:id="rId11" imgW="526" imgH="52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B71D8C1-ED2B-44D4-ACB6-E68243ED68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>
            <a:extLst>
              <a:ext uri="{FF2B5EF4-FFF2-40B4-BE49-F238E27FC236}">
                <a16:creationId xmlns:a16="http://schemas.microsoft.com/office/drawing/2014/main" id="{71D0F57D-2B48-2E42-B7FA-D435652C4959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rcRect/>
          <a:stretch/>
        </p:blipFill>
        <p:spPr>
          <a:xfrm>
            <a:off x="10267372" y="5743742"/>
            <a:ext cx="1924627" cy="1114258"/>
          </a:xfrm>
          <a:prstGeom prst="rect">
            <a:avLst/>
          </a:prstGeom>
        </p:spPr>
      </p:pic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B29D39D-DBA2-F645-9904-B744B421EB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65125"/>
            <a:ext cx="11303000" cy="102679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5DF90E2-288F-0A4B-85A4-357FD5C34B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1000" y="1825625"/>
            <a:ext cx="11303000" cy="2222853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BB5BB91-F668-F349-A699-A97F9077EAC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9004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0">
                <a:solidFill>
                  <a:srgbClr val="D9D9D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Interacción Mensual MINSA-PAV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3CD93E1-64F8-354F-A137-0D4EEE33F9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1000" y="6356350"/>
            <a:ext cx="1092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0">
                <a:solidFill>
                  <a:srgbClr val="D9D9D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0543B31-20F9-C04C-96D1-5D3BBCCF9BC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42888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5" r:id="rId2"/>
    <p:sldLayoutId id="2147483662" r:id="rId3"/>
    <p:sldLayoutId id="2147483667" r:id="rId4"/>
    <p:sldLayoutId id="2147483657" r:id="rId5"/>
    <p:sldLayoutId id="2147483659" r:id="rId6"/>
    <p:sldLayoutId id="2147483661" r:id="rId7"/>
    <p:sldLayoutId id="2147483660" r:id="rId8"/>
  </p:sldLayoutIdLst>
  <p:hf hdr="0" dt="0"/>
  <p:txStyles>
    <p:titleStyle>
      <a:lvl1pPr marL="9525" indent="0" algn="l" defTabSz="914400" rtl="0" eaLnBrk="1" latinLnBrk="0" hangingPunct="1">
        <a:lnSpc>
          <a:spcPts val="3600"/>
        </a:lnSpc>
        <a:spcBef>
          <a:spcPct val="0"/>
        </a:spcBef>
        <a:buNone/>
        <a:tabLst/>
        <a:defRPr sz="3600" kern="1200">
          <a:solidFill>
            <a:srgbClr val="FF7F5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50000"/>
        </a:lnSpc>
        <a:spcBef>
          <a:spcPts val="1000"/>
        </a:spcBef>
        <a:buClr>
          <a:srgbClr val="D9D9D6"/>
        </a:buClr>
        <a:buFont typeface="Wingdings" pitchFamily="2" charset="2"/>
        <a:buChar char="§"/>
        <a:defRPr sz="2400" b="1" kern="1200">
          <a:solidFill>
            <a:srgbClr val="FFFFFF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25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rgbClr val="D9D9D6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25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rgbClr val="FF7F5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25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368A96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25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bg1">
              <a:lumMod val="8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2.svg"/><Relationship Id="rId7" Type="http://schemas.openxmlformats.org/officeDocument/2006/relationships/image" Target="../media/image16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5.png"/><Relationship Id="rId11" Type="http://schemas.openxmlformats.org/officeDocument/2006/relationships/image" Target="../media/image20.png"/><Relationship Id="rId5" Type="http://schemas.openxmlformats.org/officeDocument/2006/relationships/image" Target="../media/image14.png"/><Relationship Id="rId10" Type="http://schemas.openxmlformats.org/officeDocument/2006/relationships/image" Target="../media/image19.png"/><Relationship Id="rId4" Type="http://schemas.openxmlformats.org/officeDocument/2006/relationships/image" Target="../media/image13.png"/><Relationship Id="rId9" Type="http://schemas.openxmlformats.org/officeDocument/2006/relationships/image" Target="../media/image18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7B92D5F-1670-457D-A5C5-2F4D673229C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52644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26" imgH="526" progId="TCLayout.ActiveDocument.1">
                  <p:embed/>
                </p:oleObj>
              </mc:Choice>
              <mc:Fallback>
                <p:oleObj name="think-cell Slide" r:id="rId3" imgW="526" imgH="52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7B92D5F-1670-457D-A5C5-2F4D673229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453321A-FE11-EC45-8FEB-D75F84A1359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82301" y="737913"/>
            <a:ext cx="9027398" cy="4371969"/>
          </a:xfrm>
        </p:spPr>
        <p:txBody>
          <a:bodyPr vert="horz">
            <a:noAutofit/>
          </a:bodyPr>
          <a:lstStyle/>
          <a:p>
            <a:pPr algn="ctr"/>
            <a:r>
              <a:rPr lang="es" sz="4000" b="1" noProof="0" dirty="0">
                <a:latin typeface="Calibri"/>
                <a:cs typeface="Calibri"/>
              </a:rPr>
              <a:t>PAVE-Peru Site Visit</a:t>
            </a:r>
            <a:br>
              <a:rPr lang="en-US" sz="4000" b="1" noProof="0" dirty="0">
                <a:latin typeface="Calibri"/>
                <a:cs typeface="Calibri"/>
              </a:rPr>
            </a:br>
            <a:r>
              <a:rPr lang="es" sz="4000" dirty="0">
                <a:latin typeface="Calibri Light" panose="020F0302020204030204" pitchFamily="34" charset="0"/>
                <a:cs typeface="Calibri Light" panose="020F0302020204030204" pitchFamily="34" charset="0"/>
              </a:rPr>
              <a:t>Study Debrief</a:t>
            </a:r>
            <a:br>
              <a:rPr lang="en-US" sz="4000" b="1" noProof="0" dirty="0">
                <a:latin typeface="Calibri"/>
                <a:cs typeface="Calibri"/>
              </a:rPr>
            </a:br>
            <a:br>
              <a:rPr lang="en-US" sz="4000" b="1" noProof="0" dirty="0">
                <a:latin typeface="Calibri"/>
                <a:cs typeface="Calibri"/>
              </a:rPr>
            </a:br>
            <a:r>
              <a:rPr lang="es" sz="2000" noProof="0" dirty="0">
                <a:latin typeface="Calibri Light" panose="020F0302020204030204" pitchFamily="34" charset="0"/>
                <a:cs typeface="Calibri Light" panose="020F0302020204030204" pitchFamily="34" charset="0"/>
              </a:rPr>
              <a:t>03 November 2024</a:t>
            </a:r>
            <a:endParaRPr lang="en-US" sz="4000" noProof="0" dirty="0">
              <a:highlight>
                <a:srgbClr val="FF0000"/>
              </a:highlight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988233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58AF9F-913D-FE47-BD9F-32FC7CE1DD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" dirty="0"/>
              <a:t>T</a:t>
            </a:r>
            <a:r>
              <a:rPr lang="en-US" dirty="0"/>
              <a:t>h</a:t>
            </a:r>
            <a:r>
              <a:rPr lang="es" dirty="0"/>
              <a:t>ank you</a:t>
            </a:r>
            <a:endParaRPr lang="es" dirty="0">
              <a:solidFill>
                <a:srgbClr val="FF0000"/>
              </a:solidFill>
              <a:highlight>
                <a:srgbClr val="FFFF00"/>
              </a:highlight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A0BE2D1-B88A-8042-ACF9-A0DA68F8CD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543B31-20F9-C04C-96D1-5D3BBCCF9BC9}" type="slidenum">
              <a:rPr lang="en-US" smtClean="0"/>
              <a:t>10</a:t>
            </a:fld>
            <a:endParaRPr lang="en-US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BFFFEB45-441D-7046-8172-36E1E1A98C7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036122" y="5087133"/>
            <a:ext cx="2119756" cy="738382"/>
          </a:xfrm>
          <a:prstGeom prst="rect">
            <a:avLst/>
          </a:prstGeom>
        </p:spPr>
      </p:pic>
      <p:pic>
        <p:nvPicPr>
          <p:cNvPr id="20" name="Picture 19" descr="A picture containing text, sign, clipart&#10;&#10;Description automatically generated">
            <a:extLst>
              <a:ext uri="{FF2B5EF4-FFF2-40B4-BE49-F238E27FC236}">
                <a16:creationId xmlns:a16="http://schemas.microsoft.com/office/drawing/2014/main" id="{C9F8BFE3-8335-0440-94F8-B0F89E1CD09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693174" y="3721143"/>
            <a:ext cx="1608620" cy="632144"/>
          </a:xfrm>
          <a:prstGeom prst="rect">
            <a:avLst/>
          </a:prstGeom>
        </p:spPr>
      </p:pic>
      <p:pic>
        <p:nvPicPr>
          <p:cNvPr id="21" name="Picture 20" descr="A picture containing chart&#10;&#10;Description automatically generated">
            <a:extLst>
              <a:ext uri="{FF2B5EF4-FFF2-40B4-BE49-F238E27FC236}">
                <a16:creationId xmlns:a16="http://schemas.microsoft.com/office/drawing/2014/main" id="{C3BF9283-F9EA-0C43-8DCC-CEF0B585871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051005" y="3306723"/>
            <a:ext cx="2445589" cy="1411266"/>
          </a:xfrm>
          <a:prstGeom prst="rect">
            <a:avLst/>
          </a:prstGeom>
        </p:spPr>
      </p:pic>
      <p:sp>
        <p:nvSpPr>
          <p:cNvPr id="3" name="Footer Placeholder 5">
            <a:extLst>
              <a:ext uri="{FF2B5EF4-FFF2-40B4-BE49-F238E27FC236}">
                <a16:creationId xmlns:a16="http://schemas.microsoft.com/office/drawing/2014/main" id="{76B8896E-0714-349D-F0F9-D0ADC7745B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60060" y="6356350"/>
            <a:ext cx="4114800" cy="365125"/>
          </a:xfrm>
        </p:spPr>
        <p:txBody>
          <a:bodyPr/>
          <a:lstStyle/>
          <a:p>
            <a:r>
              <a:rPr lang="es" dirty="0"/>
              <a:t>PAVE-Peru Site Visit 2024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52786420-30B1-EE6C-EF63-A3AAA3B5E7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3938" y="2120345"/>
            <a:ext cx="3503005" cy="9370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0AFB4FC4-CD21-6F9D-756D-296B06D161D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98571" y="3176332"/>
            <a:ext cx="3812443" cy="1672048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AF45F357-3EF6-2719-1C51-1655A249CC9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885040" y="2070142"/>
            <a:ext cx="2552143" cy="1066716"/>
          </a:xfrm>
          <a:prstGeom prst="rect">
            <a:avLst/>
          </a:prstGeom>
        </p:spPr>
      </p:pic>
      <p:pic>
        <p:nvPicPr>
          <p:cNvPr id="1027" name="Picture 3" descr="page1image49558112">
            <a:extLst>
              <a:ext uri="{FF2B5EF4-FFF2-40B4-BE49-F238E27FC236}">
                <a16:creationId xmlns:a16="http://schemas.microsoft.com/office/drawing/2014/main" id="{BE36EF57-D6B3-8B27-C1B6-3F54FAFB35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5207000" cy="5207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page1image49546256">
            <a:extLst>
              <a:ext uri="{FF2B5EF4-FFF2-40B4-BE49-F238E27FC236}">
                <a16:creationId xmlns:a16="http://schemas.microsoft.com/office/drawing/2014/main" id="{E7BB03DC-BCFE-E406-556F-976F665AED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4495800" cy="4495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9" name="Picture 5" descr="page1image63187456">
            <a:extLst>
              <a:ext uri="{FF2B5EF4-FFF2-40B4-BE49-F238E27FC236}">
                <a16:creationId xmlns:a16="http://schemas.microsoft.com/office/drawing/2014/main" id="{167418B2-9AFF-6571-351A-D172F06DC0A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2171700" cy="2425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3435386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9" name="Rectangle 1038">
            <a:extLst>
              <a:ext uri="{FF2B5EF4-FFF2-40B4-BE49-F238E27FC236}">
                <a16:creationId xmlns:a16="http://schemas.microsoft.com/office/drawing/2014/main" id="{42A4FC2C-047E-45A5-965D-8E1E3BF09B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1524" y="0"/>
            <a:ext cx="12188952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D0B9E00F-3C94-356C-7655-1A88526162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746"/>
          <a:stretch/>
        </p:blipFill>
        <p:spPr bwMode="auto">
          <a:xfrm>
            <a:off x="20" y="1282"/>
            <a:ext cx="12191980" cy="68567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357795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EDAE068-145D-888C-511F-34F04DD0D00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CD61FD1-5E81-8437-2EA7-3DD9547D8B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1" y="358047"/>
            <a:ext cx="11810999" cy="1026795"/>
          </a:xfrm>
        </p:spPr>
        <p:txBody>
          <a:bodyPr>
            <a:normAutofit/>
          </a:bodyPr>
          <a:lstStyle/>
          <a:p>
            <a:r>
              <a:rPr lang="es" sz="3200" b="1" dirty="0"/>
              <a:t>Program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CF38296-FBB8-D1E6-4528-E9BDF29BC64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2967" y="1752067"/>
            <a:ext cx="11406065" cy="2932341"/>
          </a:xfrm>
        </p:spPr>
        <p:txBody>
          <a:bodyPr vert="horz" wrap="square" lIns="91440" tIns="45720" rIns="91440" bIns="45720" rtlCol="0" anchor="t">
            <a:spAutoFit/>
          </a:bodyPr>
          <a:lstStyle/>
          <a:p>
            <a:pPr marL="0" indent="0">
              <a:spcBef>
                <a:spcPts val="0"/>
              </a:spcBef>
              <a:spcAft>
                <a:spcPts val="1800"/>
              </a:spcAft>
              <a:buClr>
                <a:srgbClr val="368A96"/>
              </a:buClr>
              <a:buNone/>
            </a:pPr>
            <a:r>
              <a:rPr lang="en-US" sz="2400" noProof="0" dirty="0">
                <a:solidFill>
                  <a:srgbClr val="368A96"/>
                </a:solidFill>
                <a:ea typeface="Calibri"/>
              </a:rPr>
              <a:t>PAVE-Peru study debrief: </a:t>
            </a:r>
          </a:p>
          <a:p>
            <a:pPr marL="457200" indent="-457200">
              <a:spcBef>
                <a:spcPts val="0"/>
              </a:spcBef>
              <a:spcAft>
                <a:spcPts val="1800"/>
              </a:spcAft>
              <a:buClr>
                <a:srgbClr val="368A96"/>
              </a:buClr>
              <a:buFont typeface="+mj-lt"/>
              <a:buAutoNum type="arabicPeriod"/>
            </a:pPr>
            <a:r>
              <a:rPr lang="en-US" sz="2400" dirty="0">
                <a:solidFill>
                  <a:srgbClr val="368A96"/>
                </a:solidFill>
                <a:ea typeface="Calibri"/>
              </a:rPr>
              <a:t>F</a:t>
            </a:r>
            <a:r>
              <a:rPr lang="en-US" sz="2400" noProof="0" dirty="0" err="1">
                <a:solidFill>
                  <a:srgbClr val="368A96"/>
                </a:solidFill>
                <a:ea typeface="Calibri"/>
              </a:rPr>
              <a:t>easibility</a:t>
            </a:r>
            <a:r>
              <a:rPr lang="en-US" sz="2400" noProof="0" dirty="0">
                <a:solidFill>
                  <a:srgbClr val="368A96"/>
                </a:solidFill>
                <a:ea typeface="Calibri"/>
              </a:rPr>
              <a:t> study (FS): Overview &amp; Lessons learned</a:t>
            </a:r>
            <a:r>
              <a:rPr lang="en-US" sz="2400" b="0" noProof="0" dirty="0">
                <a:solidFill>
                  <a:srgbClr val="368A96"/>
                </a:solidFill>
                <a:ea typeface="Calibri"/>
              </a:rPr>
              <a:t> [UPCH, Study PI]</a:t>
            </a:r>
          </a:p>
          <a:p>
            <a:pPr marL="457200" indent="-457200">
              <a:spcBef>
                <a:spcPts val="0"/>
              </a:spcBef>
              <a:spcAft>
                <a:spcPts val="1800"/>
              </a:spcAft>
              <a:buClr>
                <a:srgbClr val="368A96"/>
              </a:buClr>
              <a:buFont typeface="+mj-lt"/>
              <a:buAutoNum type="arabicPeriod"/>
            </a:pPr>
            <a:r>
              <a:rPr lang="en-US" sz="2400" dirty="0">
                <a:solidFill>
                  <a:srgbClr val="368A96"/>
                </a:solidFill>
                <a:ea typeface="Calibri"/>
              </a:rPr>
              <a:t>Q</a:t>
            </a:r>
            <a:r>
              <a:rPr lang="en-US" sz="2400" noProof="0" dirty="0" err="1">
                <a:solidFill>
                  <a:srgbClr val="368A96"/>
                </a:solidFill>
                <a:ea typeface="Calibri"/>
              </a:rPr>
              <a:t>ualitative</a:t>
            </a:r>
            <a:r>
              <a:rPr lang="en-US" sz="2400" noProof="0" dirty="0">
                <a:solidFill>
                  <a:srgbClr val="368A96"/>
                </a:solidFill>
                <a:ea typeface="Calibri"/>
              </a:rPr>
              <a:t> component </a:t>
            </a:r>
            <a:r>
              <a:rPr lang="en-US" sz="2400" b="0" noProof="0" dirty="0">
                <a:solidFill>
                  <a:srgbClr val="368A96"/>
                </a:solidFill>
                <a:ea typeface="Calibri"/>
              </a:rPr>
              <a:t>[MMV, CT Social Scientist]</a:t>
            </a:r>
          </a:p>
          <a:p>
            <a:pPr marL="457200" indent="-457200">
              <a:spcBef>
                <a:spcPts val="0"/>
              </a:spcBef>
              <a:spcAft>
                <a:spcPts val="1800"/>
              </a:spcAft>
              <a:buClr>
                <a:srgbClr val="368A96"/>
              </a:buClr>
              <a:buFont typeface="+mj-lt"/>
              <a:buAutoNum type="arabicPeriod"/>
            </a:pPr>
            <a:r>
              <a:rPr lang="en-US" sz="2400" noProof="0" dirty="0">
                <a:solidFill>
                  <a:srgbClr val="368A96"/>
                </a:solidFill>
                <a:ea typeface="Calibri"/>
              </a:rPr>
              <a:t>Costing component: CEA &amp; BIA </a:t>
            </a:r>
            <a:r>
              <a:rPr lang="en-US" sz="2400" b="0" noProof="0" dirty="0">
                <a:solidFill>
                  <a:srgbClr val="368A96"/>
                </a:solidFill>
                <a:ea typeface="Calibri"/>
              </a:rPr>
              <a:t>[MMV, </a:t>
            </a:r>
            <a:r>
              <a:rPr lang="en-US" sz="2400" b="0" dirty="0">
                <a:solidFill>
                  <a:srgbClr val="368A96"/>
                </a:solidFill>
                <a:ea typeface="Calibri"/>
              </a:rPr>
              <a:t>CT </a:t>
            </a:r>
            <a:r>
              <a:rPr lang="en-US" sz="2400" b="0" noProof="0" dirty="0">
                <a:solidFill>
                  <a:srgbClr val="368A96"/>
                </a:solidFill>
                <a:ea typeface="Calibri"/>
              </a:rPr>
              <a:t>Health Economist]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33F49AE-CDFF-7349-A45B-0FA140A343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60060" y="6356350"/>
            <a:ext cx="4114800" cy="365125"/>
          </a:xfrm>
        </p:spPr>
        <p:txBody>
          <a:bodyPr/>
          <a:lstStyle/>
          <a:p>
            <a:r>
              <a:rPr lang="es" dirty="0"/>
              <a:t>PAVE-Peru Site Visit 2024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6ECF2B1-6EAF-F5C8-4AD3-0B027CE56B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3532" y="6356350"/>
            <a:ext cx="1041400" cy="365125"/>
          </a:xfrm>
        </p:spPr>
        <p:txBody>
          <a:bodyPr/>
          <a:lstStyle/>
          <a:p>
            <a:fld id="{70543B31-20F9-C04C-96D1-5D3BBCCF9BC9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920834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37DF81-1DBC-0D95-BE72-217C2AB552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94BEE35-F767-5262-7FA5-352A95C6ED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1" y="358047"/>
            <a:ext cx="11810999" cy="1026795"/>
          </a:xfrm>
        </p:spPr>
        <p:txBody>
          <a:bodyPr>
            <a:normAutofit/>
          </a:bodyPr>
          <a:lstStyle/>
          <a:p>
            <a:pPr>
              <a:spcAft>
                <a:spcPts val="1200"/>
              </a:spcAft>
            </a:pPr>
            <a:r>
              <a:rPr lang="es" sz="2800" b="1" dirty="0"/>
              <a:t>3. </a:t>
            </a:r>
            <a:r>
              <a:rPr lang="en-US" sz="2800" b="1" dirty="0"/>
              <a:t>Costing Component</a:t>
            </a:r>
            <a:endParaRPr lang="es" sz="2800" b="1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2A78222-03BA-4A8B-737F-0566069E785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001" y="1768738"/>
            <a:ext cx="11238201" cy="4367862"/>
          </a:xfrm>
        </p:spPr>
        <p:txBody>
          <a:bodyPr vert="horz" wrap="square" lIns="91440" tIns="45720" rIns="91440" bIns="45720" rtlCol="0" anchor="t">
            <a:spAutoFit/>
          </a:bodyPr>
          <a:lstStyle/>
          <a:p>
            <a:pPr marL="228600" lvl="1">
              <a:lnSpc>
                <a:spcPct val="150000"/>
              </a:lnSpc>
              <a:spcBef>
                <a:spcPts val="1000"/>
              </a:spcBef>
              <a:spcAft>
                <a:spcPts val="1200"/>
              </a:spcAft>
              <a:buClr>
                <a:srgbClr val="368A96"/>
              </a:buClr>
              <a:buFont typeface="Wingdings" pitchFamily="2" charset="2"/>
              <a:buChar char="§"/>
            </a:pPr>
            <a:r>
              <a:rPr lang="es" sz="1800" b="1" dirty="0">
                <a:solidFill>
                  <a:srgbClr val="368A96"/>
                </a:solidFill>
              </a:rPr>
              <a:t>Overview</a:t>
            </a:r>
          </a:p>
          <a:p>
            <a:pPr lvl="1">
              <a:lnSpc>
                <a:spcPct val="100000"/>
              </a:lnSpc>
              <a:spcAft>
                <a:spcPts val="1200"/>
              </a:spcAft>
            </a:pPr>
            <a:r>
              <a:rPr lang="en-US" sz="1800" b="1" dirty="0">
                <a:solidFill>
                  <a:schemeClr val="tx1"/>
                </a:solidFill>
                <a:ea typeface="Calibri"/>
              </a:rPr>
              <a:t>Context: T</a:t>
            </a:r>
            <a:r>
              <a:rPr lang="en-US" sz="1800" dirty="0">
                <a:solidFill>
                  <a:schemeClr val="tx1"/>
                </a:solidFill>
                <a:ea typeface="Calibri"/>
              </a:rPr>
              <a:t>he study assesses a new treatment algorithm integrating TQ or PQ after G6PD deficiency screening for the treatment of </a:t>
            </a:r>
            <a:r>
              <a:rPr lang="en-US" sz="1800" i="1" dirty="0">
                <a:solidFill>
                  <a:schemeClr val="tx1"/>
                </a:solidFill>
                <a:ea typeface="Calibri"/>
              </a:rPr>
              <a:t>P. vivax </a:t>
            </a:r>
            <a:r>
              <a:rPr lang="en-US" sz="1800" dirty="0">
                <a:solidFill>
                  <a:schemeClr val="tx1"/>
                </a:solidFill>
                <a:ea typeface="Calibri"/>
              </a:rPr>
              <a:t>malaria in Peru.</a:t>
            </a:r>
          </a:p>
          <a:p>
            <a:pPr lvl="1">
              <a:lnSpc>
                <a:spcPct val="100000"/>
              </a:lnSpc>
              <a:spcAft>
                <a:spcPts val="1200"/>
              </a:spcAft>
            </a:pPr>
            <a:r>
              <a:rPr lang="en-US" sz="1800" b="1" dirty="0">
                <a:solidFill>
                  <a:schemeClr val="tx1"/>
                </a:solidFill>
                <a:ea typeface="Calibri"/>
              </a:rPr>
              <a:t>Objective: </a:t>
            </a:r>
            <a:r>
              <a:rPr lang="en-US" sz="1800" dirty="0">
                <a:solidFill>
                  <a:schemeClr val="tx1"/>
                </a:solidFill>
              </a:rPr>
              <a:t>Compare the current treatment standard (CQ+PQ7D without G6PD screening) vs. revised treatment algorithm (CQ+TQ/PQ7D or extended CQ+PQ8W with mandatory G6PD testing) </a:t>
            </a:r>
            <a:r>
              <a:rPr lang="en-US" sz="1800" dirty="0">
                <a:solidFill>
                  <a:schemeClr val="tx1"/>
                </a:solidFill>
                <a:ea typeface="Calibri"/>
              </a:rPr>
              <a:t>to determine economic viability and health impact. In both algorithms the dosage is weight-based.</a:t>
            </a:r>
          </a:p>
          <a:p>
            <a:pPr lvl="1">
              <a:lnSpc>
                <a:spcPct val="100000"/>
              </a:lnSpc>
              <a:spcAft>
                <a:spcPts val="1200"/>
              </a:spcAft>
            </a:pPr>
            <a:r>
              <a:rPr lang="en-US" sz="1800" b="1" dirty="0">
                <a:solidFill>
                  <a:schemeClr val="tx1"/>
                </a:solidFill>
                <a:ea typeface="Calibri"/>
              </a:rPr>
              <a:t>Studies Conducted</a:t>
            </a:r>
            <a:r>
              <a:rPr lang="en-US" sz="1800" dirty="0">
                <a:solidFill>
                  <a:schemeClr val="tx1"/>
                </a:solidFill>
                <a:ea typeface="Calibri"/>
              </a:rPr>
              <a:t>:</a:t>
            </a:r>
          </a:p>
          <a:p>
            <a:pPr lvl="2">
              <a:lnSpc>
                <a:spcPct val="100000"/>
              </a:lnSpc>
              <a:spcAft>
                <a:spcPts val="1200"/>
              </a:spcAft>
            </a:pPr>
            <a:r>
              <a:rPr lang="en-US" sz="1800" dirty="0">
                <a:solidFill>
                  <a:schemeClr val="tx1"/>
                </a:solidFill>
                <a:ea typeface="Calibri"/>
              </a:rPr>
              <a:t>Cost-Effectiveness Analysis (CEA): Evaluates the value of the revised algorithm over the current one.</a:t>
            </a:r>
          </a:p>
          <a:p>
            <a:pPr lvl="2">
              <a:lnSpc>
                <a:spcPct val="100000"/>
              </a:lnSpc>
              <a:spcAft>
                <a:spcPts val="1200"/>
              </a:spcAft>
            </a:pPr>
            <a:r>
              <a:rPr lang="en-US" sz="1800" dirty="0">
                <a:solidFill>
                  <a:schemeClr val="tx1"/>
                </a:solidFill>
                <a:ea typeface="Calibri"/>
              </a:rPr>
              <a:t>Budget Impact Analysis (BIA): Estimates financial impact and savings under different rollout scenarios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247D667-188D-B80F-C980-6172EA0AD1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3532" y="6356350"/>
            <a:ext cx="1041400" cy="365125"/>
          </a:xfrm>
        </p:spPr>
        <p:txBody>
          <a:bodyPr/>
          <a:lstStyle/>
          <a:p>
            <a:fld id="{70543B31-20F9-C04C-96D1-5D3BBCCF9BC9}" type="slidenum">
              <a:rPr lang="en-US" smtClean="0"/>
              <a:t>3</a:t>
            </a:fld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17EFDAA-F923-C611-7E3F-110912E17158}"/>
              </a:ext>
            </a:extLst>
          </p:cNvPr>
          <p:cNvSpPr txBox="1"/>
          <p:nvPr/>
        </p:nvSpPr>
        <p:spPr>
          <a:xfrm>
            <a:off x="8889999" y="-5147"/>
            <a:ext cx="3302001" cy="523220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PE" sz="2800" b="1" dirty="0">
                <a:solidFill>
                  <a:srgbClr val="FF0000"/>
                </a:solidFill>
              </a:rPr>
              <a:t>MMV-CT</a:t>
            </a:r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F0725342-F60B-BCCC-BD6B-A6F2972768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60060" y="6356350"/>
            <a:ext cx="4114800" cy="365125"/>
          </a:xfrm>
        </p:spPr>
        <p:txBody>
          <a:bodyPr/>
          <a:lstStyle/>
          <a:p>
            <a:r>
              <a:rPr lang="es" dirty="0"/>
              <a:t>PAVE-Peru Site Visit 2024</a:t>
            </a:r>
          </a:p>
        </p:txBody>
      </p:sp>
    </p:spTree>
    <p:extLst>
      <p:ext uri="{BB962C8B-B14F-4D97-AF65-F5344CB8AC3E}">
        <p14:creationId xmlns:p14="http://schemas.microsoft.com/office/powerpoint/2010/main" val="328821259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0C9150B-DA97-2851-7C3A-0BBB67A0DE5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04676FF-74DE-61CA-A332-BCD996144B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1" y="358047"/>
            <a:ext cx="11810999" cy="1026795"/>
          </a:xfrm>
        </p:spPr>
        <p:txBody>
          <a:bodyPr>
            <a:normAutofit/>
          </a:bodyPr>
          <a:lstStyle/>
          <a:p>
            <a:pPr>
              <a:spcAft>
                <a:spcPts val="1200"/>
              </a:spcAft>
            </a:pPr>
            <a:r>
              <a:rPr lang="es" sz="2800" b="1" dirty="0"/>
              <a:t>3. </a:t>
            </a:r>
            <a:r>
              <a:rPr lang="en-US" sz="2800" b="1" dirty="0"/>
              <a:t>Costing Component</a:t>
            </a:r>
            <a:endParaRPr lang="es" sz="2800" b="1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4D2BD00-AC95-3DF1-75FF-E8671716387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001" y="1768738"/>
            <a:ext cx="11238201" cy="4421723"/>
          </a:xfrm>
        </p:spPr>
        <p:txBody>
          <a:bodyPr vert="horz" wrap="square" lIns="91440" tIns="45720" rIns="91440" bIns="45720" rtlCol="0" anchor="t">
            <a:spAutoFit/>
          </a:bodyPr>
          <a:lstStyle/>
          <a:p>
            <a:pPr marL="228600" lvl="1">
              <a:lnSpc>
                <a:spcPct val="150000"/>
              </a:lnSpc>
              <a:spcBef>
                <a:spcPts val="1000"/>
              </a:spcBef>
              <a:spcAft>
                <a:spcPts val="600"/>
              </a:spcAft>
              <a:buClr>
                <a:srgbClr val="368A96"/>
              </a:buClr>
              <a:buFont typeface="Wingdings" pitchFamily="2" charset="2"/>
              <a:buChar char="§"/>
            </a:pPr>
            <a:r>
              <a:rPr lang="es" sz="1800" b="1" dirty="0">
                <a:solidFill>
                  <a:srgbClr val="368A96"/>
                </a:solidFill>
              </a:rPr>
              <a:t>Methods</a:t>
            </a:r>
          </a:p>
          <a:p>
            <a:pPr lvl="1">
              <a:lnSpc>
                <a:spcPct val="100000"/>
              </a:lnSpc>
              <a:buClr>
                <a:schemeClr val="tx1"/>
              </a:buClr>
            </a:pPr>
            <a:r>
              <a:rPr lang="en-US" sz="1800" b="1" dirty="0">
                <a:solidFill>
                  <a:schemeClr val="tx1"/>
                </a:solidFill>
              </a:rPr>
              <a:t>Decision-Tree Modeling: </a:t>
            </a:r>
            <a:r>
              <a:rPr lang="en-US" sz="1800" dirty="0">
                <a:solidFill>
                  <a:schemeClr val="tx1"/>
                </a:solidFill>
              </a:rPr>
              <a:t>tailored to Peru’s context using context-specific parameters, simulates 10,000 cases of </a:t>
            </a:r>
            <a:r>
              <a:rPr lang="en-US" sz="1800" i="1" dirty="0">
                <a:solidFill>
                  <a:schemeClr val="tx1"/>
                </a:solidFill>
              </a:rPr>
              <a:t>P. vivax </a:t>
            </a:r>
            <a:r>
              <a:rPr lang="en-US" sz="1800" dirty="0">
                <a:solidFill>
                  <a:schemeClr val="tx1"/>
                </a:solidFill>
              </a:rPr>
              <a:t>malaria, stratified by weight, gender, and G6PD status.</a:t>
            </a:r>
          </a:p>
          <a:p>
            <a:pPr lvl="1">
              <a:lnSpc>
                <a:spcPct val="100000"/>
              </a:lnSpc>
              <a:buClr>
                <a:schemeClr val="tx1"/>
              </a:buClr>
            </a:pPr>
            <a:r>
              <a:rPr lang="en-US" sz="1800" b="1" dirty="0">
                <a:solidFill>
                  <a:schemeClr val="tx1"/>
                </a:solidFill>
              </a:rPr>
              <a:t>Population Subgroups:</a:t>
            </a:r>
          </a:p>
          <a:p>
            <a:pPr lvl="2">
              <a:lnSpc>
                <a:spcPct val="100000"/>
              </a:lnSpc>
              <a:buClr>
                <a:schemeClr val="tx1"/>
              </a:buClr>
              <a:buFont typeface="Courier New" panose="02070309020205020404" pitchFamily="49" charset="0"/>
              <a:buChar char="o"/>
            </a:pPr>
            <a:r>
              <a:rPr lang="en-US" sz="1800" dirty="0">
                <a:solidFill>
                  <a:schemeClr val="tx1"/>
                </a:solidFill>
              </a:rPr>
              <a:t>Stratified by weight categories: 10-20 kg, 20-35 kg, &gt;35 kg; and by gender: male and female.</a:t>
            </a:r>
          </a:p>
          <a:p>
            <a:pPr lvl="2">
              <a:lnSpc>
                <a:spcPct val="100000"/>
              </a:lnSpc>
              <a:buClr>
                <a:schemeClr val="tx1"/>
              </a:buClr>
              <a:buFont typeface="Courier New" panose="02070309020205020404" pitchFamily="49" charset="0"/>
              <a:buChar char="o"/>
            </a:pPr>
            <a:r>
              <a:rPr lang="en-US" sz="1800" dirty="0">
                <a:solidFill>
                  <a:schemeClr val="tx1"/>
                </a:solidFill>
              </a:rPr>
              <a:t>Includes gender-specific scenarios, recognizing intermediate G6PD activity in females, and pregnancy.</a:t>
            </a:r>
          </a:p>
          <a:p>
            <a:pPr lvl="2">
              <a:lnSpc>
                <a:spcPct val="100000"/>
              </a:lnSpc>
              <a:buClr>
                <a:schemeClr val="tx1"/>
              </a:buClr>
              <a:buFont typeface="Courier New" panose="02070309020205020404" pitchFamily="49" charset="0"/>
              <a:buChar char="o"/>
            </a:pPr>
            <a:r>
              <a:rPr lang="en-US" sz="1800" dirty="0">
                <a:solidFill>
                  <a:schemeClr val="tx1"/>
                </a:solidFill>
              </a:rPr>
              <a:t>Results were aggregated considering the cases distribution across demographic groups, to obtain single cost-effectiveness measures. </a:t>
            </a:r>
          </a:p>
          <a:p>
            <a:pPr lvl="1">
              <a:lnSpc>
                <a:spcPct val="100000"/>
              </a:lnSpc>
              <a:buClr>
                <a:schemeClr val="tx1"/>
              </a:buClr>
            </a:pPr>
            <a:r>
              <a:rPr lang="en-US" sz="1800" b="1" dirty="0">
                <a:solidFill>
                  <a:schemeClr val="tx1"/>
                </a:solidFill>
              </a:rPr>
              <a:t>Costs and outcomes were calculated from the healthcare sector perspective. </a:t>
            </a:r>
          </a:p>
          <a:p>
            <a:pPr lvl="2">
              <a:lnSpc>
                <a:spcPct val="100000"/>
              </a:lnSpc>
              <a:buClr>
                <a:schemeClr val="tx1"/>
              </a:buClr>
              <a:buFont typeface="Courier New" panose="02070309020205020404" pitchFamily="49" charset="0"/>
              <a:buChar char="o"/>
            </a:pPr>
            <a:r>
              <a:rPr lang="en-US" sz="1800" dirty="0">
                <a:solidFill>
                  <a:schemeClr val="tx1"/>
                </a:solidFill>
              </a:rPr>
              <a:t>Costs adjusted to reflect the Peruvian healthcare context, using MoH guidelines and epidemiological data.</a:t>
            </a:r>
          </a:p>
          <a:p>
            <a:pPr lvl="1">
              <a:lnSpc>
                <a:spcPct val="100000"/>
              </a:lnSpc>
              <a:buClr>
                <a:schemeClr val="tx1"/>
              </a:buClr>
            </a:pPr>
            <a:r>
              <a:rPr lang="en-US" sz="1800" b="1" dirty="0">
                <a:solidFill>
                  <a:schemeClr val="tx1"/>
                </a:solidFill>
              </a:rPr>
              <a:t>BIA implementation scenario: 5-year rollout targeting 70% TQ coverage by year 5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C291CEC-264F-2E06-66E9-B79C3B85F3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3532" y="6356350"/>
            <a:ext cx="1041400" cy="365125"/>
          </a:xfrm>
        </p:spPr>
        <p:txBody>
          <a:bodyPr/>
          <a:lstStyle/>
          <a:p>
            <a:fld id="{70543B31-20F9-C04C-96D1-5D3BBCCF9BC9}" type="slidenum">
              <a:rPr lang="en-US" smtClean="0"/>
              <a:t>4</a:t>
            </a:fld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AFCBFFF-250B-FBA7-4425-01A45AB613E6}"/>
              </a:ext>
            </a:extLst>
          </p:cNvPr>
          <p:cNvSpPr txBox="1"/>
          <p:nvPr/>
        </p:nvSpPr>
        <p:spPr>
          <a:xfrm>
            <a:off x="8889999" y="-5147"/>
            <a:ext cx="3302001" cy="523220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PE" sz="2800" b="1" dirty="0">
                <a:solidFill>
                  <a:srgbClr val="FF0000"/>
                </a:solidFill>
              </a:rPr>
              <a:t>MMV-CT</a:t>
            </a:r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7B9AB442-59F5-A2FB-8556-2EAEBF8A37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60060" y="6356350"/>
            <a:ext cx="4114800" cy="365125"/>
          </a:xfrm>
        </p:spPr>
        <p:txBody>
          <a:bodyPr/>
          <a:lstStyle/>
          <a:p>
            <a:r>
              <a:rPr lang="es" dirty="0"/>
              <a:t>PAVE-Peru Site Visit 2024</a:t>
            </a:r>
          </a:p>
        </p:txBody>
      </p:sp>
    </p:spTree>
    <p:extLst>
      <p:ext uri="{BB962C8B-B14F-4D97-AF65-F5344CB8AC3E}">
        <p14:creationId xmlns:p14="http://schemas.microsoft.com/office/powerpoint/2010/main" val="269185483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697F810-C3F3-A761-58F5-F8D77B6A13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0CE2509-D401-63AC-C632-51B5F7420F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1" y="358047"/>
            <a:ext cx="11810999" cy="1026795"/>
          </a:xfrm>
        </p:spPr>
        <p:txBody>
          <a:bodyPr>
            <a:normAutofit/>
          </a:bodyPr>
          <a:lstStyle/>
          <a:p>
            <a:pPr>
              <a:spcAft>
                <a:spcPts val="1200"/>
              </a:spcAft>
            </a:pPr>
            <a:r>
              <a:rPr lang="es" sz="2800" b="1" dirty="0"/>
              <a:t>3. </a:t>
            </a:r>
            <a:r>
              <a:rPr lang="en-US" sz="2800" b="1" dirty="0"/>
              <a:t>Costing Component</a:t>
            </a:r>
            <a:endParaRPr lang="es" sz="2800" b="1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BEB4A69-D688-B4F3-2C31-9C1AC655704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001" y="1768738"/>
            <a:ext cx="11238201" cy="4449936"/>
          </a:xfrm>
        </p:spPr>
        <p:txBody>
          <a:bodyPr vert="horz" wrap="square" lIns="91440" tIns="45720" rIns="91440" bIns="45720" rtlCol="0" anchor="t">
            <a:spAutoFit/>
          </a:bodyPr>
          <a:lstStyle/>
          <a:p>
            <a:pPr marL="228600" lvl="1">
              <a:lnSpc>
                <a:spcPct val="150000"/>
              </a:lnSpc>
              <a:spcBef>
                <a:spcPts val="1000"/>
              </a:spcBef>
              <a:spcAft>
                <a:spcPts val="600"/>
              </a:spcAft>
              <a:buClr>
                <a:srgbClr val="368A96"/>
              </a:buClr>
              <a:buFont typeface="Wingdings" pitchFamily="2" charset="2"/>
              <a:buChar char="§"/>
            </a:pPr>
            <a:r>
              <a:rPr lang="es" sz="1800" b="1" dirty="0">
                <a:solidFill>
                  <a:srgbClr val="368A96"/>
                </a:solidFill>
              </a:rPr>
              <a:t>Methods</a:t>
            </a:r>
          </a:p>
          <a:p>
            <a:pPr lvl="1">
              <a:lnSpc>
                <a:spcPct val="100000"/>
              </a:lnSpc>
              <a:spcAft>
                <a:spcPts val="1200"/>
              </a:spcAft>
              <a:buClr>
                <a:schemeClr val="tx1"/>
              </a:buClr>
            </a:pPr>
            <a:r>
              <a:rPr lang="en-US" sz="1800" b="1" dirty="0">
                <a:solidFill>
                  <a:schemeClr val="tx1"/>
                </a:solidFill>
              </a:rPr>
              <a:t>Model assumptions:  </a:t>
            </a:r>
            <a:endParaRPr lang="en-US" sz="1800" dirty="0">
              <a:solidFill>
                <a:schemeClr val="tx1"/>
              </a:solidFill>
            </a:endParaRPr>
          </a:p>
          <a:p>
            <a:pPr lvl="2">
              <a:lnSpc>
                <a:spcPct val="100000"/>
              </a:lnSpc>
              <a:spcAft>
                <a:spcPts val="1200"/>
              </a:spcAft>
              <a:buClr>
                <a:schemeClr val="tx1"/>
              </a:buClr>
              <a:buFont typeface="Courier New" panose="02070309020205020404" pitchFamily="49" charset="0"/>
              <a:buChar char="o"/>
            </a:pPr>
            <a:r>
              <a:rPr lang="en-US" sz="1800" u="sng" dirty="0">
                <a:solidFill>
                  <a:schemeClr val="tx1"/>
                </a:solidFill>
              </a:rPr>
              <a:t>G6PD Deficiency Rates</a:t>
            </a:r>
            <a:r>
              <a:rPr lang="en-US" sz="1800" dirty="0">
                <a:solidFill>
                  <a:schemeClr val="tx1"/>
                </a:solidFill>
              </a:rPr>
              <a:t>: derived from regional studies (i.e., Brazil, Colombia).</a:t>
            </a:r>
          </a:p>
          <a:p>
            <a:pPr lvl="2">
              <a:lnSpc>
                <a:spcPct val="100000"/>
              </a:lnSpc>
              <a:spcAft>
                <a:spcPts val="1200"/>
              </a:spcAft>
              <a:buClr>
                <a:schemeClr val="tx1"/>
              </a:buClr>
              <a:buFont typeface="Courier New" panose="02070309020205020404" pitchFamily="49" charset="0"/>
              <a:buChar char="o"/>
            </a:pPr>
            <a:r>
              <a:rPr lang="en-US" sz="1800" u="sng" dirty="0">
                <a:solidFill>
                  <a:schemeClr val="tx1"/>
                </a:solidFill>
              </a:rPr>
              <a:t>Cost Estimates</a:t>
            </a:r>
            <a:r>
              <a:rPr lang="en-US" sz="1800" dirty="0">
                <a:solidFill>
                  <a:schemeClr val="tx1"/>
                </a:solidFill>
              </a:rPr>
              <a:t>: conservative assumptions to ensure robust results; adjusted for inflation and logistics costs (e.g., transportation of TQ).</a:t>
            </a:r>
          </a:p>
          <a:p>
            <a:pPr lvl="2">
              <a:lnSpc>
                <a:spcPct val="100000"/>
              </a:lnSpc>
              <a:spcAft>
                <a:spcPts val="1200"/>
              </a:spcAft>
              <a:buClr>
                <a:schemeClr val="tx1"/>
              </a:buClr>
              <a:buFont typeface="Courier New" panose="02070309020205020404" pitchFamily="49" charset="0"/>
              <a:buChar char="o"/>
            </a:pPr>
            <a:r>
              <a:rPr lang="en-US" sz="1800" u="sng" dirty="0">
                <a:solidFill>
                  <a:schemeClr val="tx1"/>
                </a:solidFill>
              </a:rPr>
              <a:t>Treatment Adherence</a:t>
            </a:r>
            <a:r>
              <a:rPr lang="en-US" sz="1800" dirty="0">
                <a:solidFill>
                  <a:schemeClr val="tx1"/>
                </a:solidFill>
              </a:rPr>
              <a:t>: TQ’s single-dose regimen expected to improve compliance over PQ's multi-day regimen.</a:t>
            </a:r>
          </a:p>
          <a:p>
            <a:pPr lvl="2">
              <a:lnSpc>
                <a:spcPct val="100000"/>
              </a:lnSpc>
              <a:spcAft>
                <a:spcPts val="1200"/>
              </a:spcAft>
              <a:buClr>
                <a:schemeClr val="tx1"/>
              </a:buClr>
              <a:buFont typeface="Courier New" panose="02070309020205020404" pitchFamily="49" charset="0"/>
              <a:buChar char="o"/>
            </a:pPr>
            <a:r>
              <a:rPr lang="en-US" sz="1800" u="sng" dirty="0">
                <a:solidFill>
                  <a:schemeClr val="tx1"/>
                </a:solidFill>
              </a:rPr>
              <a:t>Unaccounted Costs</a:t>
            </a:r>
            <a:r>
              <a:rPr lang="en-US" sz="1800" dirty="0">
                <a:solidFill>
                  <a:schemeClr val="tx1"/>
                </a:solidFill>
              </a:rPr>
              <a:t>:</a:t>
            </a:r>
          </a:p>
          <a:p>
            <a:pPr lvl="3">
              <a:lnSpc>
                <a:spcPct val="100000"/>
              </a:lnSpc>
              <a:spcAft>
                <a:spcPts val="1200"/>
              </a:spcAft>
              <a:buClr>
                <a:schemeClr val="tx1"/>
              </a:buClr>
              <a:buFont typeface="Courier New" panose="02070309020205020404" pitchFamily="49" charset="0"/>
              <a:buChar char="o"/>
            </a:pPr>
            <a:r>
              <a:rPr lang="en-US" sz="1800" dirty="0">
                <a:solidFill>
                  <a:schemeClr val="tx1"/>
                </a:solidFill>
              </a:rPr>
              <a:t>Some implementation expenses (e.g., policy updates, increased monitoring) excluded.</a:t>
            </a:r>
          </a:p>
          <a:p>
            <a:pPr lvl="3">
              <a:lnSpc>
                <a:spcPct val="100000"/>
              </a:lnSpc>
              <a:spcAft>
                <a:spcPts val="1200"/>
              </a:spcAft>
              <a:buClr>
                <a:schemeClr val="tx1"/>
              </a:buClr>
              <a:buFont typeface="Courier New" panose="02070309020205020404" pitchFamily="49" charset="0"/>
              <a:buChar char="o"/>
            </a:pPr>
            <a:r>
              <a:rPr lang="en-US" sz="1800" dirty="0">
                <a:solidFill>
                  <a:schemeClr val="tx1"/>
                </a:solidFill>
              </a:rPr>
              <a:t>Future provider and public acceptance could impact uptake and efficienc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76E79C1-6DAB-6F82-6CA6-C9920BDE3D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3532" y="6356350"/>
            <a:ext cx="1041400" cy="365125"/>
          </a:xfrm>
        </p:spPr>
        <p:txBody>
          <a:bodyPr/>
          <a:lstStyle/>
          <a:p>
            <a:fld id="{70543B31-20F9-C04C-96D1-5D3BBCCF9BC9}" type="slidenum">
              <a:rPr lang="en-US" smtClean="0"/>
              <a:t>5</a:t>
            </a:fld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68ED9CA-27FB-55C9-211D-B6DA6E7F194C}"/>
              </a:ext>
            </a:extLst>
          </p:cNvPr>
          <p:cNvSpPr txBox="1"/>
          <p:nvPr/>
        </p:nvSpPr>
        <p:spPr>
          <a:xfrm>
            <a:off x="8889999" y="-5147"/>
            <a:ext cx="3302001" cy="523220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PE" sz="2800" b="1" dirty="0">
                <a:solidFill>
                  <a:srgbClr val="FF0000"/>
                </a:solidFill>
              </a:rPr>
              <a:t>MMV-CT</a:t>
            </a:r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8FB5BFD0-6264-9842-96AF-1CBF096A45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60060" y="6356350"/>
            <a:ext cx="4114800" cy="365125"/>
          </a:xfrm>
        </p:spPr>
        <p:txBody>
          <a:bodyPr/>
          <a:lstStyle/>
          <a:p>
            <a:r>
              <a:rPr lang="es" dirty="0"/>
              <a:t>PAVE-Peru Site Visit 2024</a:t>
            </a:r>
          </a:p>
        </p:txBody>
      </p:sp>
    </p:spTree>
    <p:extLst>
      <p:ext uri="{BB962C8B-B14F-4D97-AF65-F5344CB8AC3E}">
        <p14:creationId xmlns:p14="http://schemas.microsoft.com/office/powerpoint/2010/main" val="408170875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706AD4D-F472-4801-3056-A20EA42528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D09A8A9-5B4F-6F0A-90EA-D2897C1BBD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1" y="358047"/>
            <a:ext cx="11810999" cy="1026795"/>
          </a:xfrm>
        </p:spPr>
        <p:txBody>
          <a:bodyPr>
            <a:normAutofit/>
          </a:bodyPr>
          <a:lstStyle/>
          <a:p>
            <a:pPr>
              <a:spcAft>
                <a:spcPts val="1200"/>
              </a:spcAft>
            </a:pPr>
            <a:r>
              <a:rPr lang="es" sz="2800" b="1" dirty="0"/>
              <a:t>3. </a:t>
            </a:r>
            <a:r>
              <a:rPr lang="en-US" sz="2800" b="1" dirty="0"/>
              <a:t>Costing Component</a:t>
            </a:r>
            <a:endParaRPr lang="es" sz="2800" b="1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18D4BF8-BB8F-B2DA-0092-475AD01BB2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001" y="1768738"/>
            <a:ext cx="11238201" cy="4462760"/>
          </a:xfrm>
        </p:spPr>
        <p:txBody>
          <a:bodyPr vert="horz" wrap="square" lIns="91440" tIns="45720" rIns="91440" bIns="45720" rtlCol="0" anchor="t">
            <a:spAutoFit/>
          </a:bodyPr>
          <a:lstStyle/>
          <a:p>
            <a:pPr marL="228600" lvl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368A96"/>
              </a:buClr>
              <a:buFont typeface="Wingdings" pitchFamily="2" charset="2"/>
              <a:buChar char="§"/>
            </a:pPr>
            <a:r>
              <a:rPr lang="es" sz="1800" b="1" dirty="0">
                <a:solidFill>
                  <a:srgbClr val="368A96"/>
                </a:solidFill>
              </a:rPr>
              <a:t>Key Findings: CEA</a:t>
            </a:r>
          </a:p>
          <a:p>
            <a:pPr lvl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800" u="sng" dirty="0">
                <a:solidFill>
                  <a:schemeClr val="tx1"/>
                </a:solidFill>
                <a:ea typeface="Calibri"/>
              </a:rPr>
              <a:t>Improved Health Outcomes</a:t>
            </a:r>
            <a:r>
              <a:rPr lang="en-US" sz="1800" dirty="0">
                <a:solidFill>
                  <a:schemeClr val="tx1"/>
                </a:solidFill>
                <a:ea typeface="Calibri"/>
              </a:rPr>
              <a:t>:</a:t>
            </a:r>
          </a:p>
          <a:p>
            <a:pPr lvl="2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800" dirty="0">
                <a:solidFill>
                  <a:schemeClr val="tx1"/>
                </a:solidFill>
                <a:ea typeface="Calibri"/>
              </a:rPr>
              <a:t>391 fewer recurrences and 0.3 deaths avoided per 10,000 cases</a:t>
            </a:r>
          </a:p>
          <a:p>
            <a:pPr lvl="2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800" dirty="0">
                <a:solidFill>
                  <a:schemeClr val="tx1"/>
                </a:solidFill>
                <a:ea typeface="Calibri"/>
              </a:rPr>
              <a:t>22 Disability-Adjusted Life Years (DALYs) adverted per 10,000 cases</a:t>
            </a:r>
          </a:p>
          <a:p>
            <a:pPr lvl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800" u="sng" dirty="0">
                <a:solidFill>
                  <a:schemeClr val="tx1"/>
                </a:solidFill>
                <a:ea typeface="Calibri"/>
              </a:rPr>
              <a:t>Cost Savings</a:t>
            </a:r>
            <a:r>
              <a:rPr lang="en-US" sz="1800" dirty="0">
                <a:solidFill>
                  <a:schemeClr val="tx1"/>
                </a:solidFill>
                <a:ea typeface="Calibri"/>
              </a:rPr>
              <a:t>:</a:t>
            </a:r>
          </a:p>
          <a:p>
            <a:pPr lvl="2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800" dirty="0">
                <a:solidFill>
                  <a:schemeClr val="tx1"/>
                </a:solidFill>
                <a:ea typeface="Calibri"/>
              </a:rPr>
              <a:t>$97,593 saved for every 10,000 cases</a:t>
            </a:r>
          </a:p>
          <a:p>
            <a:pPr lvl="2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800" dirty="0">
                <a:solidFill>
                  <a:schemeClr val="tx1"/>
                </a:solidFill>
                <a:ea typeface="Calibri"/>
              </a:rPr>
              <a:t>Incremental Cost-Effectiveness Ratio (ICER) below the threshold of $3,700 per DALY averted [Cost Effective: ICER = </a:t>
            </a:r>
            <a:r>
              <a:rPr lang="en-US" sz="1800" dirty="0">
                <a:solidFill>
                  <a:schemeClr val="tx1"/>
                </a:solidFill>
                <a:latin typeface="Arial"/>
                <a:cs typeface="Arial"/>
              </a:rPr>
              <a:t>-4,52 $/DALY</a:t>
            </a:r>
            <a:r>
              <a:rPr lang="en-US" sz="1800" dirty="0">
                <a:solidFill>
                  <a:schemeClr val="tx1"/>
                </a:solidFill>
                <a:ea typeface="Calibri"/>
              </a:rPr>
              <a:t>]</a:t>
            </a:r>
          </a:p>
          <a:p>
            <a:pPr lvl="2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800" dirty="0">
                <a:solidFill>
                  <a:schemeClr val="tx1"/>
                </a:solidFill>
                <a:ea typeface="Calibri"/>
              </a:rPr>
              <a:t>With per person cost buffer (+$17.8) to absorb unforeseen/other remaining cost</a:t>
            </a:r>
          </a:p>
          <a:p>
            <a:pPr marL="228600" lvl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368A96"/>
              </a:buClr>
              <a:buFont typeface="Wingdings" pitchFamily="2" charset="2"/>
              <a:buChar char="§"/>
            </a:pPr>
            <a:r>
              <a:rPr lang="es" sz="1800" b="1" dirty="0">
                <a:solidFill>
                  <a:srgbClr val="368A96"/>
                </a:solidFill>
              </a:rPr>
              <a:t>Key Findings: BIA</a:t>
            </a:r>
            <a:endParaRPr lang="en-US" sz="1800" dirty="0">
              <a:solidFill>
                <a:schemeClr val="tx1"/>
              </a:solidFill>
              <a:ea typeface="Calibri"/>
            </a:endParaRPr>
          </a:p>
          <a:p>
            <a:pPr lvl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800" u="sng" dirty="0">
                <a:solidFill>
                  <a:schemeClr val="tx1"/>
                </a:solidFill>
                <a:ea typeface="Calibri"/>
              </a:rPr>
              <a:t>Implementation Impact</a:t>
            </a:r>
            <a:r>
              <a:rPr lang="en-US" sz="1800" dirty="0">
                <a:solidFill>
                  <a:schemeClr val="tx1"/>
                </a:solidFill>
                <a:ea typeface="Calibri"/>
              </a:rPr>
              <a:t>:</a:t>
            </a:r>
          </a:p>
          <a:p>
            <a:pPr lvl="2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800" dirty="0">
                <a:solidFill>
                  <a:schemeClr val="tx1"/>
                </a:solidFill>
                <a:ea typeface="Calibri"/>
              </a:rPr>
              <a:t>Projected savings of $303,600 over five years, with gradual rollout of TQ reaching 70% coverage by Year 5.</a:t>
            </a:r>
            <a:endParaRPr lang="es" sz="1800" b="1" dirty="0">
              <a:solidFill>
                <a:srgbClr val="368A96"/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F88F199-234B-E8B8-2208-3324FB1564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3532" y="6356350"/>
            <a:ext cx="1041400" cy="365125"/>
          </a:xfrm>
        </p:spPr>
        <p:txBody>
          <a:bodyPr/>
          <a:lstStyle/>
          <a:p>
            <a:fld id="{70543B31-20F9-C04C-96D1-5D3BBCCF9BC9}" type="slidenum">
              <a:rPr lang="en-US" smtClean="0"/>
              <a:t>6</a:t>
            </a:fld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961AE27-8462-607C-9005-A33A62BC9C03}"/>
              </a:ext>
            </a:extLst>
          </p:cNvPr>
          <p:cNvSpPr txBox="1"/>
          <p:nvPr/>
        </p:nvSpPr>
        <p:spPr>
          <a:xfrm>
            <a:off x="8889999" y="-5147"/>
            <a:ext cx="3302001" cy="523220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PE" sz="2800" b="1" dirty="0">
                <a:solidFill>
                  <a:srgbClr val="FF0000"/>
                </a:solidFill>
              </a:rPr>
              <a:t>MMV-CT</a:t>
            </a:r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8301FC4A-F009-DD27-CF29-394E795662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60060" y="6356350"/>
            <a:ext cx="4114800" cy="365125"/>
          </a:xfrm>
        </p:spPr>
        <p:txBody>
          <a:bodyPr/>
          <a:lstStyle/>
          <a:p>
            <a:r>
              <a:rPr lang="es" dirty="0"/>
              <a:t>PAVE-Peru Site Visit 2024</a:t>
            </a:r>
          </a:p>
        </p:txBody>
      </p:sp>
    </p:spTree>
    <p:extLst>
      <p:ext uri="{BB962C8B-B14F-4D97-AF65-F5344CB8AC3E}">
        <p14:creationId xmlns:p14="http://schemas.microsoft.com/office/powerpoint/2010/main" val="33763199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5F91427-3636-BE5C-172F-F602A11D66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C595FEA-C0F5-7C85-BC20-E343F519E8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1" y="358047"/>
            <a:ext cx="11810999" cy="1026795"/>
          </a:xfrm>
        </p:spPr>
        <p:txBody>
          <a:bodyPr>
            <a:normAutofit/>
          </a:bodyPr>
          <a:lstStyle/>
          <a:p>
            <a:pPr>
              <a:spcAft>
                <a:spcPts val="1200"/>
              </a:spcAft>
            </a:pPr>
            <a:r>
              <a:rPr lang="es" sz="2800" b="1" dirty="0"/>
              <a:t>3. </a:t>
            </a:r>
            <a:r>
              <a:rPr lang="en-US" sz="2800" b="1" dirty="0"/>
              <a:t>Costing Component</a:t>
            </a:r>
            <a:endParaRPr lang="es" sz="2800" b="1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423948B-7316-E7C2-7A26-435DED38394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001" y="1768738"/>
            <a:ext cx="11238201" cy="3595856"/>
          </a:xfrm>
        </p:spPr>
        <p:txBody>
          <a:bodyPr vert="horz" wrap="square" lIns="91440" tIns="45720" rIns="91440" bIns="45720" rtlCol="0" anchor="t">
            <a:spAutoFit/>
          </a:bodyPr>
          <a:lstStyle/>
          <a:p>
            <a:pPr marL="228600" lvl="1">
              <a:lnSpc>
                <a:spcPct val="150000"/>
              </a:lnSpc>
              <a:spcBef>
                <a:spcPts val="1000"/>
              </a:spcBef>
              <a:spcAft>
                <a:spcPts val="1200"/>
              </a:spcAft>
              <a:buClr>
                <a:srgbClr val="368A96"/>
              </a:buClr>
              <a:buFont typeface="Wingdings" pitchFamily="2" charset="2"/>
              <a:buChar char="§"/>
            </a:pPr>
            <a:r>
              <a:rPr lang="es" sz="1800" b="1" dirty="0">
                <a:solidFill>
                  <a:srgbClr val="368A96"/>
                </a:solidFill>
              </a:rPr>
              <a:t>Challenges &amp; Considerations</a:t>
            </a:r>
          </a:p>
          <a:p>
            <a:pPr lvl="1">
              <a:lnSpc>
                <a:spcPct val="100000"/>
              </a:lnSpc>
              <a:spcAft>
                <a:spcPts val="1200"/>
              </a:spcAft>
            </a:pPr>
            <a:r>
              <a:rPr lang="en-US" sz="1800" b="1" dirty="0">
                <a:solidFill>
                  <a:schemeClr val="tx1"/>
                </a:solidFill>
                <a:ea typeface="Calibri"/>
              </a:rPr>
              <a:t>G6PD Screening Requirement: </a:t>
            </a:r>
            <a:r>
              <a:rPr lang="en-US" sz="1800" dirty="0">
                <a:solidFill>
                  <a:schemeClr val="tx1"/>
                </a:solidFill>
                <a:ea typeface="Calibri"/>
              </a:rPr>
              <a:t>Mandatory for safe use of TQ and to prevent acute hemolytic anemia (AHA).</a:t>
            </a:r>
          </a:p>
          <a:p>
            <a:pPr lvl="1">
              <a:lnSpc>
                <a:spcPct val="100000"/>
              </a:lnSpc>
              <a:spcAft>
                <a:spcPts val="1200"/>
              </a:spcAft>
            </a:pPr>
            <a:r>
              <a:rPr lang="en-US" sz="1800" b="1" dirty="0">
                <a:solidFill>
                  <a:schemeClr val="tx1"/>
                </a:solidFill>
                <a:ea typeface="Calibri"/>
              </a:rPr>
              <a:t>Pediatric Tafenoquine (</a:t>
            </a:r>
            <a:r>
              <a:rPr lang="en-US" sz="1800" b="1" dirty="0" err="1">
                <a:solidFill>
                  <a:schemeClr val="tx1"/>
                </a:solidFill>
                <a:ea typeface="Calibri"/>
              </a:rPr>
              <a:t>pTQ</a:t>
            </a:r>
            <a:r>
              <a:rPr lang="en-US" sz="1800" b="1" dirty="0">
                <a:solidFill>
                  <a:schemeClr val="tx1"/>
                </a:solidFill>
                <a:ea typeface="Calibri"/>
              </a:rPr>
              <a:t>):</a:t>
            </a:r>
            <a:r>
              <a:rPr lang="en-US" sz="1800" dirty="0">
                <a:solidFill>
                  <a:schemeClr val="tx1"/>
                </a:solidFill>
                <a:ea typeface="Calibri"/>
              </a:rPr>
              <a:t> Pending approval in Peru; expected rollout to cover patients aged 2 years and above.</a:t>
            </a:r>
          </a:p>
          <a:p>
            <a:pPr lvl="1">
              <a:lnSpc>
                <a:spcPct val="100000"/>
              </a:lnSpc>
              <a:spcAft>
                <a:spcPts val="1200"/>
              </a:spcAft>
            </a:pPr>
            <a:r>
              <a:rPr lang="en-US" sz="1800" b="1" dirty="0">
                <a:solidFill>
                  <a:schemeClr val="tx1"/>
                </a:solidFill>
                <a:ea typeface="Calibri"/>
              </a:rPr>
              <a:t>Provider and Public Acceptance: </a:t>
            </a:r>
            <a:r>
              <a:rPr lang="en-US" sz="1800" dirty="0">
                <a:solidFill>
                  <a:schemeClr val="tx1"/>
                </a:solidFill>
                <a:ea typeface="Calibri"/>
              </a:rPr>
              <a:t>Implementation requires investment in training and awareness to ensure uptake.</a:t>
            </a:r>
          </a:p>
          <a:p>
            <a:pPr lvl="1">
              <a:lnSpc>
                <a:spcPct val="100000"/>
              </a:lnSpc>
              <a:spcAft>
                <a:spcPts val="1200"/>
              </a:spcAft>
            </a:pPr>
            <a:r>
              <a:rPr lang="en-US" sz="1800" b="1" dirty="0">
                <a:solidFill>
                  <a:schemeClr val="tx1"/>
                </a:solidFill>
                <a:ea typeface="Calibri"/>
              </a:rPr>
              <a:t>Implementation Costs: </a:t>
            </a:r>
            <a:r>
              <a:rPr lang="en-US" sz="1800" dirty="0">
                <a:solidFill>
                  <a:schemeClr val="tx1"/>
                </a:solidFill>
                <a:ea typeface="Calibri"/>
              </a:rPr>
              <a:t>Not fully accounted for beyond training expenses, which could affect the projected savings.</a:t>
            </a:r>
            <a:endParaRPr lang="es" sz="1800" b="1" dirty="0">
              <a:solidFill>
                <a:srgbClr val="368A96"/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9562A9E-EA4A-8644-88A8-C46AC7D261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3532" y="6356350"/>
            <a:ext cx="1041400" cy="365125"/>
          </a:xfrm>
        </p:spPr>
        <p:txBody>
          <a:bodyPr/>
          <a:lstStyle/>
          <a:p>
            <a:fld id="{70543B31-20F9-C04C-96D1-5D3BBCCF9BC9}" type="slidenum">
              <a:rPr lang="en-US" smtClean="0"/>
              <a:t>7</a:t>
            </a:fld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2BCABD0-4B3D-9B2A-82A5-8C4A66AFD6A2}"/>
              </a:ext>
            </a:extLst>
          </p:cNvPr>
          <p:cNvSpPr txBox="1"/>
          <p:nvPr/>
        </p:nvSpPr>
        <p:spPr>
          <a:xfrm>
            <a:off x="8889999" y="-5147"/>
            <a:ext cx="3302001" cy="523220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PE" sz="2800" b="1" dirty="0">
                <a:solidFill>
                  <a:srgbClr val="FF0000"/>
                </a:solidFill>
              </a:rPr>
              <a:t>MMV-CT</a:t>
            </a:r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321EE0B4-DB00-9B3E-603D-47EBA829EC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60060" y="6356350"/>
            <a:ext cx="4114800" cy="365125"/>
          </a:xfrm>
        </p:spPr>
        <p:txBody>
          <a:bodyPr/>
          <a:lstStyle/>
          <a:p>
            <a:r>
              <a:rPr lang="es" dirty="0"/>
              <a:t>PAVE-Peru Site Visit 2024</a:t>
            </a:r>
          </a:p>
        </p:txBody>
      </p:sp>
    </p:spTree>
    <p:extLst>
      <p:ext uri="{BB962C8B-B14F-4D97-AF65-F5344CB8AC3E}">
        <p14:creationId xmlns:p14="http://schemas.microsoft.com/office/powerpoint/2010/main" val="177057250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18669D5-CBE4-2B6D-4F62-60F06471BB1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9BE066B-F5EC-B8AF-92B5-05FD3E5F12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1" y="358047"/>
            <a:ext cx="11810999" cy="1026795"/>
          </a:xfrm>
        </p:spPr>
        <p:txBody>
          <a:bodyPr>
            <a:normAutofit/>
          </a:bodyPr>
          <a:lstStyle/>
          <a:p>
            <a:pPr>
              <a:spcAft>
                <a:spcPts val="1200"/>
              </a:spcAft>
            </a:pPr>
            <a:r>
              <a:rPr lang="es" sz="2800" b="1" dirty="0"/>
              <a:t>3. </a:t>
            </a:r>
            <a:r>
              <a:rPr lang="en-US" sz="2800" b="1" dirty="0"/>
              <a:t>Costing Component</a:t>
            </a:r>
            <a:endParaRPr lang="es" sz="2800" b="1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12270C8-CFF9-9B26-AD76-4447761EA4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001" y="1768738"/>
            <a:ext cx="11238201" cy="4044697"/>
          </a:xfrm>
        </p:spPr>
        <p:txBody>
          <a:bodyPr vert="horz" wrap="square" lIns="91440" tIns="45720" rIns="91440" bIns="45720" rtlCol="0" anchor="t">
            <a:spAutoFit/>
          </a:bodyPr>
          <a:lstStyle/>
          <a:p>
            <a:pPr marL="228600" lvl="1">
              <a:lnSpc>
                <a:spcPct val="150000"/>
              </a:lnSpc>
              <a:spcBef>
                <a:spcPts val="1000"/>
              </a:spcBef>
              <a:spcAft>
                <a:spcPts val="600"/>
              </a:spcAft>
              <a:buClr>
                <a:srgbClr val="368A96"/>
              </a:buClr>
              <a:buFont typeface="Wingdings" pitchFamily="2" charset="2"/>
              <a:buChar char="§"/>
            </a:pPr>
            <a:r>
              <a:rPr lang="es" sz="1800" b="1" dirty="0">
                <a:solidFill>
                  <a:srgbClr val="368A96"/>
                </a:solidFill>
              </a:rPr>
              <a:t>Next Steps</a:t>
            </a:r>
          </a:p>
          <a:p>
            <a:pPr lvl="1">
              <a:lnSpc>
                <a:spcPct val="100000"/>
              </a:lnSpc>
              <a:spcAft>
                <a:spcPts val="1800"/>
              </a:spcAft>
            </a:pPr>
            <a:r>
              <a:rPr lang="en-US" sz="1800" b="1" dirty="0">
                <a:solidFill>
                  <a:schemeClr val="tx1"/>
                </a:solidFill>
                <a:ea typeface="Calibri"/>
              </a:rPr>
              <a:t>Refinement of Scenarios: </a:t>
            </a:r>
            <a:r>
              <a:rPr lang="en-US" sz="1800" dirty="0">
                <a:solidFill>
                  <a:schemeClr val="tx1"/>
                </a:solidFill>
                <a:ea typeface="Calibri"/>
              </a:rPr>
              <a:t>Ongoing consultation with Ministry of Health (MoH) to finalize rollout plans, to guide BIA model and results.</a:t>
            </a:r>
          </a:p>
          <a:p>
            <a:pPr lvl="1">
              <a:lnSpc>
                <a:spcPct val="100000"/>
              </a:lnSpc>
              <a:spcAft>
                <a:spcPts val="1800"/>
              </a:spcAft>
            </a:pPr>
            <a:r>
              <a:rPr lang="en-US" sz="1800" b="1" dirty="0">
                <a:solidFill>
                  <a:schemeClr val="tx1"/>
                </a:solidFill>
                <a:ea typeface="Calibri"/>
              </a:rPr>
              <a:t>Validation and Stakeholder Engagement:</a:t>
            </a:r>
          </a:p>
          <a:p>
            <a:pPr lvl="2">
              <a:lnSpc>
                <a:spcPct val="100000"/>
              </a:lnSpc>
              <a:spcAft>
                <a:spcPts val="1800"/>
              </a:spcAft>
            </a:pPr>
            <a:r>
              <a:rPr lang="en-US" sz="1800" dirty="0">
                <a:solidFill>
                  <a:schemeClr val="tx1"/>
                </a:solidFill>
                <a:ea typeface="Calibri"/>
              </a:rPr>
              <a:t>Final HEA Report and meetings scheduled with decision-makers in 2025.</a:t>
            </a:r>
          </a:p>
          <a:p>
            <a:pPr lvl="2">
              <a:lnSpc>
                <a:spcPct val="100000"/>
              </a:lnSpc>
              <a:spcAft>
                <a:spcPts val="1800"/>
              </a:spcAft>
            </a:pPr>
            <a:r>
              <a:rPr lang="en-US" sz="1800" dirty="0">
                <a:solidFill>
                  <a:schemeClr val="tx1"/>
                </a:solidFill>
                <a:ea typeface="Calibri"/>
              </a:rPr>
              <a:t>Plans for publication of findings in scientific journals in 2025</a:t>
            </a:r>
          </a:p>
          <a:p>
            <a:pPr lvl="1">
              <a:lnSpc>
                <a:spcPct val="100000"/>
              </a:lnSpc>
              <a:spcAft>
                <a:spcPts val="1800"/>
              </a:spcAft>
            </a:pPr>
            <a:r>
              <a:rPr lang="en-US" sz="1800" b="1" dirty="0">
                <a:solidFill>
                  <a:schemeClr val="tx1"/>
                </a:solidFill>
                <a:ea typeface="Calibri"/>
              </a:rPr>
              <a:t>Recommendation: </a:t>
            </a:r>
            <a:r>
              <a:rPr lang="en-US" sz="1800" dirty="0">
                <a:solidFill>
                  <a:schemeClr val="tx1"/>
                </a:solidFill>
                <a:ea typeface="Calibri"/>
              </a:rPr>
              <a:t>Adoption of the revised algorithm is encouraged for cost-effective malaria management and alignment with WHO guidelines (i.e., G6PD testing) and (hopefully) upcoming recommendations of TQ.</a:t>
            </a:r>
            <a:endParaRPr lang="es" sz="1800" b="1" dirty="0">
              <a:solidFill>
                <a:srgbClr val="368A96"/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2EC94A2-9BB7-1A1B-F348-9D7B4992CD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3532" y="6356350"/>
            <a:ext cx="1041400" cy="365125"/>
          </a:xfrm>
        </p:spPr>
        <p:txBody>
          <a:bodyPr/>
          <a:lstStyle/>
          <a:p>
            <a:fld id="{70543B31-20F9-C04C-96D1-5D3BBCCF9BC9}" type="slidenum">
              <a:rPr lang="en-US" smtClean="0"/>
              <a:t>8</a:t>
            </a:fld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DD69401-6091-B43D-D9A2-51AFDE9C39EA}"/>
              </a:ext>
            </a:extLst>
          </p:cNvPr>
          <p:cNvSpPr txBox="1"/>
          <p:nvPr/>
        </p:nvSpPr>
        <p:spPr>
          <a:xfrm>
            <a:off x="8889999" y="-5147"/>
            <a:ext cx="3302001" cy="523220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PE" sz="2800" b="1" dirty="0">
                <a:solidFill>
                  <a:srgbClr val="FF0000"/>
                </a:solidFill>
              </a:rPr>
              <a:t>MMV-CT</a:t>
            </a:r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C182E969-AC14-56D8-1E7B-C323AB6D65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60060" y="6356350"/>
            <a:ext cx="4114800" cy="365125"/>
          </a:xfrm>
        </p:spPr>
        <p:txBody>
          <a:bodyPr/>
          <a:lstStyle/>
          <a:p>
            <a:r>
              <a:rPr lang="es" dirty="0"/>
              <a:t>PAVE-Peru Site Visit 2024</a:t>
            </a:r>
          </a:p>
        </p:txBody>
      </p:sp>
    </p:spTree>
    <p:extLst>
      <p:ext uri="{BB962C8B-B14F-4D97-AF65-F5344CB8AC3E}">
        <p14:creationId xmlns:p14="http://schemas.microsoft.com/office/powerpoint/2010/main" val="17278153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EF1E8B92-6065-0EE3-9A4B-0A8EA7C9851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2" name="Rectangle 11">
            <a:extLst>
              <a:ext uri="{FF2B5EF4-FFF2-40B4-BE49-F238E27FC236}">
                <a16:creationId xmlns:a16="http://schemas.microsoft.com/office/drawing/2014/main" id="{2C1ED78C-8EBD-EF0B-BA7F-75FB698E68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6AD7576-A3C8-141A-ED09-58CB3E8FCD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4196" y="2534885"/>
            <a:ext cx="4141113" cy="1427515"/>
          </a:xfrm>
          <a:noFill/>
        </p:spPr>
        <p:txBody>
          <a:bodyPr vert="horz" lIns="91440" tIns="45720" rIns="91440" bIns="45720" rtlCol="0" anchor="b">
            <a:normAutofit/>
          </a:bodyPr>
          <a:lstStyle/>
          <a:p>
            <a:pPr algn="ctr">
              <a:lnSpc>
                <a:spcPct val="90000"/>
              </a:lnSpc>
              <a:spcAft>
                <a:spcPts val="1200"/>
              </a:spcAft>
            </a:pPr>
            <a:r>
              <a:rPr lang="en-US" sz="5200" b="1" noProof="0" dirty="0"/>
              <a:t>Questions?</a:t>
            </a:r>
          </a:p>
        </p:txBody>
      </p:sp>
      <p:pic>
        <p:nvPicPr>
          <p:cNvPr id="2" name="Imagen 5" descr="Un grupo de personas alrededor de una mesa&#10;&#10;Descripción generada automáticamente">
            <a:extLst>
              <a:ext uri="{FF2B5EF4-FFF2-40B4-BE49-F238E27FC236}">
                <a16:creationId xmlns:a16="http://schemas.microsoft.com/office/drawing/2014/main" id="{31D33703-E3E7-EC08-3AEE-65742F06D19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485" r="8064"/>
          <a:stretch/>
        </p:blipFill>
        <p:spPr>
          <a:xfrm>
            <a:off x="5009505" y="10"/>
            <a:ext cx="7182495" cy="6857990"/>
          </a:xfrm>
          <a:prstGeom prst="rect">
            <a:avLst/>
          </a:prstGeom>
        </p:spPr>
      </p:pic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356ADE06-7A14-9AA0-168D-A567AE83FC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86553" y="6356350"/>
            <a:ext cx="4801595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  <a:defRPr/>
            </a:pPr>
            <a:r>
              <a:rPr lang="en-US" sz="1200" kern="1200">
                <a:solidFill>
                  <a:srgbClr val="FFFFFF"/>
                </a:solidFill>
                <a:latin typeface="Calibri" panose="020F0502020204030204"/>
                <a:ea typeface="+mn-ea"/>
                <a:cs typeface="+mn-cs"/>
              </a:rPr>
              <a:t>PAVE-Peru Site Visit 2024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0C1447B-DBB4-FF84-8981-22DA63E488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193124" y="6356350"/>
            <a:ext cx="1160676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r">
              <a:spcAft>
                <a:spcPts val="600"/>
              </a:spcAft>
              <a:defRPr/>
            </a:pPr>
            <a:fld id="{70543B31-20F9-C04C-96D1-5D3BBCCF9BC9}" type="slidenum">
              <a:rPr lang="en-US" sz="1200">
                <a:solidFill>
                  <a:srgbClr val="FFFFFF"/>
                </a:solidFill>
                <a:latin typeface="Calibri" panose="020F0502020204030204"/>
                <a:cs typeface="+mn-cs"/>
              </a:rPr>
              <a:pPr algn="r">
                <a:spcAft>
                  <a:spcPts val="600"/>
                </a:spcAft>
                <a:defRPr/>
              </a:pPr>
              <a:t>9</a:t>
            </a:fld>
            <a:endParaRPr lang="en-US" sz="1200">
              <a:solidFill>
                <a:srgbClr val="FFFFFF"/>
              </a:solidFill>
              <a:latin typeface="Calibri" panose="020F0502020204030204"/>
              <a:cs typeface="+mn-cs"/>
            </a:endParaRPr>
          </a:p>
        </p:txBody>
      </p:sp>
      <p:pic>
        <p:nvPicPr>
          <p:cNvPr id="10" name="Imagen 11">
            <a:extLst>
              <a:ext uri="{FF2B5EF4-FFF2-40B4-BE49-F238E27FC236}">
                <a16:creationId xmlns:a16="http://schemas.microsoft.com/office/drawing/2014/main" id="{F08AC7D1-E3BB-CF17-D8AB-8093704A298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69527" y="3957285"/>
            <a:ext cx="2070450" cy="2070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13033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PAVE">
      <a:dk1>
        <a:srgbClr val="000000"/>
      </a:dk1>
      <a:lt1>
        <a:srgbClr val="FFFFFF"/>
      </a:lt1>
      <a:dk2>
        <a:srgbClr val="78797C"/>
      </a:dk2>
      <a:lt2>
        <a:srgbClr val="DDDDDA"/>
      </a:lt2>
      <a:accent1>
        <a:srgbClr val="22597A"/>
      </a:accent1>
      <a:accent2>
        <a:srgbClr val="57939E"/>
      </a:accent2>
      <a:accent3>
        <a:srgbClr val="ACCACF"/>
      </a:accent3>
      <a:accent4>
        <a:srgbClr val="F08E63"/>
      </a:accent4>
      <a:accent5>
        <a:srgbClr val="F6C7B2"/>
      </a:accent5>
      <a:accent6>
        <a:srgbClr val="B9BBBB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PAVE">
      <a:dk1>
        <a:srgbClr val="000000"/>
      </a:dk1>
      <a:lt1>
        <a:srgbClr val="FFFFFF"/>
      </a:lt1>
      <a:dk2>
        <a:srgbClr val="78797C"/>
      </a:dk2>
      <a:lt2>
        <a:srgbClr val="DDDDDA"/>
      </a:lt2>
      <a:accent1>
        <a:srgbClr val="22597A"/>
      </a:accent1>
      <a:accent2>
        <a:srgbClr val="57939E"/>
      </a:accent2>
      <a:accent3>
        <a:srgbClr val="ACCACF"/>
      </a:accent3>
      <a:accent4>
        <a:srgbClr val="F08E63"/>
      </a:accent4>
      <a:accent5>
        <a:srgbClr val="F6C7B2"/>
      </a:accent5>
      <a:accent6>
        <a:srgbClr val="B9BBBB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DocType1 xmlns="52b6553c-9082-45a7-bb16-50bf2ee0b14c">Communication and Advocacy</DocType1>
    <Library xmlns="52b6553c-9082-45a7-bb16-50bf2ee0b14c">Clinical studies</Library>
    <DocStatus xmlns="52b6553c-9082-45a7-bb16-50bf2ee0b14c" xsi:nil="true"/>
    <Clinical_x0020_trial_x0020_number xmlns="52b6553c-9082-45a7-bb16-50bf2ee0b14c">MMV_TQ_21_01</Clinical_x0020_trial_x0020_number>
    <lcf76f155ced4ddcb4097134ff3c332f xmlns="14223a52-78f1-4411-88fe-611b8f7f76d2">
      <Terms xmlns="http://schemas.microsoft.com/office/infopath/2007/PartnerControls"/>
    </lcf76f155ced4ddcb4097134ff3c332f>
    <IconOverlay xmlns="http://schemas.microsoft.com/sharepoint/v4" xsi:nil="true"/>
    <TaxCatchAll xmlns="52b6553c-9082-45a7-bb16-50bf2ee0b14c">
      <Value>862</Value>
      <Value>352</Value>
    </TaxCatchAll>
    <Sponsor xmlns="52b6553c-9082-45a7-bb16-50bf2ee0b14c">MMV-sponsored study</Sponsor>
    <p7fd9917d13c4f8b9208b07ba9e14aa1 xmlns="52b6553c-9082-45a7-bb16-50bf2ee0b14c">
      <Terms xmlns="http://schemas.microsoft.com/office/infopath/2007/PartnerControls">
        <TermInfo xmlns="http://schemas.microsoft.com/office/infopath/2007/PartnerControls">
          <TermName xmlns="http://schemas.microsoft.com/office/infopath/2007/PartnerControls">Ethiopia, Federal Democratic Republic of</TermName>
          <TermId xmlns="http://schemas.microsoft.com/office/infopath/2007/PartnerControls">d77466d3-b247-497e-9c5d-2cf9cfb8762d</TermId>
        </TermInfo>
      </Terms>
    </p7fd9917d13c4f8b9208b07ba9e14aa1>
    <Details xmlns="52b6553c-9082-45a7-bb16-50bf2ee0b14c" xsi:nil="true"/>
    <dfb6e0f1a86140a69ca177b2db4288cc xmlns="14223a52-78f1-4411-88fe-611b8f7f76d2">
      <Terms xmlns="http://schemas.microsoft.com/office/infopath/2007/PartnerControls">
        <TermInfo xmlns="http://schemas.microsoft.com/office/infopath/2007/PartnerControls">
          <TermName xmlns="http://schemas.microsoft.com/office/infopath/2007/PartnerControls">4</TermName>
          <TermId xmlns="http://schemas.microsoft.com/office/infopath/2007/PartnerControls">becc33f9-946e-42fb-928f-9b06fd023ac3</TermId>
        </TermInfo>
      </Terms>
    </dfb6e0f1a86140a69ca177b2db4288cc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AF69B5B68424043B8DC3770F5FDAB6B" ma:contentTypeVersion="63" ma:contentTypeDescription="Create a new document." ma:contentTypeScope="" ma:versionID="590f7db435c3c196fa794e9be65a03ae">
  <xsd:schema xmlns:xsd="http://www.w3.org/2001/XMLSchema" xmlns:xs="http://www.w3.org/2001/XMLSchema" xmlns:p="http://schemas.microsoft.com/office/2006/metadata/properties" xmlns:ns1="http://schemas.microsoft.com/sharepoint/v3" xmlns:ns2="52b6553c-9082-45a7-bb16-50bf2ee0b14c" xmlns:ns3="14223a52-78f1-4411-88fe-611b8f7f76d2" xmlns:ns4="http://schemas.microsoft.com/sharepoint/v4" targetNamespace="http://schemas.microsoft.com/office/2006/metadata/properties" ma:root="true" ma:fieldsID="43a29d5df11c96ed0ffa0351d80dc69a" ns1:_="" ns2:_="" ns3:_="" ns4:_="">
    <xsd:import namespace="http://schemas.microsoft.com/sharepoint/v3"/>
    <xsd:import namespace="52b6553c-9082-45a7-bb16-50bf2ee0b14c"/>
    <xsd:import namespace="14223a52-78f1-4411-88fe-611b8f7f76d2"/>
    <xsd:import namespace="http://schemas.microsoft.com/sharepoint/v4"/>
    <xsd:element name="properties">
      <xsd:complexType>
        <xsd:sequence>
          <xsd:element name="documentManagement">
            <xsd:complexType>
              <xsd:all>
                <xsd:element ref="ns2:Clinical_x0020_trial_x0020_number" minOccurs="0"/>
                <xsd:element ref="ns2:Details" minOccurs="0"/>
                <xsd:element ref="ns2:Library" minOccurs="0"/>
                <xsd:element ref="ns2:Sponsor" minOccurs="0"/>
                <xsd:element ref="ns2:DocStatus" minOccurs="0"/>
                <xsd:element ref="ns2:TaxCatchAll" minOccurs="0"/>
                <xsd:element ref="ns2:p7fd9917d13c4f8b9208b07ba9e14aa1" minOccurs="0"/>
                <xsd:element ref="ns2:DocType1" minOccurs="0"/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2:SharedWithUsers" minOccurs="0"/>
                <xsd:element ref="ns2:SharedWithDetails" minOccurs="0"/>
                <xsd:element ref="ns4:IconOverlay" minOccurs="0"/>
                <xsd:element ref="ns1:_vti_ItemDeclaredRecord" minOccurs="0"/>
                <xsd:element ref="ns1:_vti_ItemHoldRecordStatus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LengthInSeconds" minOccurs="0"/>
                <xsd:element ref="ns3:lcf76f155ced4ddcb4097134ff3c332f" minOccurs="0"/>
                <xsd:element ref="ns3:MediaServiceLocation" minOccurs="0"/>
                <xsd:element ref="ns3:MediaServiceObjectDetectorVersions" minOccurs="0"/>
                <xsd:element ref="ns3:MediaServiceSearchProperties" minOccurs="0"/>
                <xsd:element ref="ns3:dfb6e0f1a86140a69ca177b2db4288cc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vti_ItemDeclaredRecord" ma:index="24" nillable="true" ma:displayName="Declared Record" ma:hidden="true" ma:internalName="_vti_ItemDeclaredRecord" ma:readOnly="true">
      <xsd:simpleType>
        <xsd:restriction base="dms:DateTime"/>
      </xsd:simpleType>
    </xsd:element>
    <xsd:element name="_vti_ItemHoldRecordStatus" ma:index="25" nillable="true" ma:displayName="Hold and Record Status" ma:decimals="0" ma:description="" ma:hidden="true" ma:indexed="true" ma:internalName="_vti_ItemHoldRecordStatu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2b6553c-9082-45a7-bb16-50bf2ee0b14c" elementFormDefault="qualified">
    <xsd:import namespace="http://schemas.microsoft.com/office/2006/documentManagement/types"/>
    <xsd:import namespace="http://schemas.microsoft.com/office/infopath/2007/PartnerControls"/>
    <xsd:element name="Clinical_x0020_trial_x0020_number" ma:index="1" nillable="true" ma:displayName="Clinical trial number" ma:internalName="Clinical_x0020_trial_x0020_number" ma:readOnly="false">
      <xsd:simpleType>
        <xsd:restriction base="dms:Text">
          <xsd:maxLength value="255"/>
        </xsd:restriction>
      </xsd:simpleType>
    </xsd:element>
    <xsd:element name="Details" ma:index="2" nillable="true" ma:displayName="Short name" ma:internalName="Details" ma:readOnly="false">
      <xsd:simpleType>
        <xsd:restriction base="dms:Text">
          <xsd:maxLength value="255"/>
        </xsd:restriction>
      </xsd:simpleType>
    </xsd:element>
    <xsd:element name="Library" ma:index="3" nillable="true" ma:displayName="Library" ma:default="Clinical studies" ma:internalName="Library" ma:readOnly="false">
      <xsd:simpleType>
        <xsd:restriction base="dms:Text">
          <xsd:maxLength value="255"/>
        </xsd:restriction>
      </xsd:simpleType>
    </xsd:element>
    <xsd:element name="Sponsor" ma:index="4" nillable="true" ma:displayName="Sponsor" ma:format="Dropdown" ma:internalName="Sponsor" ma:readOnly="false">
      <xsd:simpleType>
        <xsd:restriction base="dms:Choice">
          <xsd:enumeration value="MMV-sponsored study"/>
          <xsd:enumeration value="Non-MMV-sponsored study"/>
        </xsd:restriction>
      </xsd:simpleType>
    </xsd:element>
    <xsd:element name="DocStatus" ma:index="6" nillable="true" ma:displayName="DocStatus" ma:format="Dropdown" ma:indexed="true" ma:internalName="DocStatus" ma:readOnly="false">
      <xsd:simpleType>
        <xsd:restriction base="dms:Choice">
          <xsd:enumeration value="Draft"/>
          <xsd:enumeration value="Final"/>
        </xsd:restriction>
      </xsd:simpleType>
    </xsd:element>
    <xsd:element name="TaxCatchAll" ma:index="7" nillable="true" ma:displayName="Taxonomy Catch All Column" ma:hidden="true" ma:list="{e7bd8a96-f4b4-4a22-853b-16d1e40b7ef4}" ma:internalName="TaxCatchAll" ma:readOnly="false" ma:showField="CatchAllData" ma:web="52b6553c-9082-45a7-bb16-50bf2ee0b14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p7fd9917d13c4f8b9208b07ba9e14aa1" ma:index="13" nillable="true" ma:taxonomy="true" ma:internalName="p7fd9917d13c4f8b9208b07ba9e14aa1" ma:taxonomyFieldName="Country" ma:displayName="Country" ma:readOnly="false" ma:default="352;#Ethiopia, Federal Democratic Republic of|d77466d3-b247-497e-9c5d-2cf9cfb8762d" ma:fieldId="{97fd9917-d13c-4f8b-9208-b07ba9e14aa1}" ma:taxonomyMulti="true" ma:sspId="8c0b2d59-ef98-492a-a5a5-03894cd99d2d" ma:termSetId="fc1ed896-b7de-467d-b68c-8fc044deda86" ma:anchorId="00000000-0000-0000-0000-000000000000" ma:open="true" ma:isKeyword="false">
      <xsd:complexType>
        <xsd:sequence>
          <xsd:element ref="pc:Terms" minOccurs="0" maxOccurs="1"/>
        </xsd:sequence>
      </xsd:complexType>
    </xsd:element>
    <xsd:element name="DocType1" ma:index="16" nillable="true" ma:displayName="DocType" ma:hidden="true" ma:internalName="DocType1" ma:readOnly="false">
      <xsd:simpleType>
        <xsd:restriction base="dms:Text">
          <xsd:maxLength value="255"/>
        </xsd:restriction>
      </xsd:simpleType>
    </xsd:element>
    <xsd:element name="SharedWithUsers" ma:index="21" nillable="true" ma:displayName="Shared With" ma:hidden="true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2" nillable="true" ma:displayName="Shared With Details" ma:hidden="true" ma:internalName="SharedWithDetail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4223a52-78f1-4411-88fe-611b8f7f76d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7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8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hidden="true" ma:internalName="MediaServiceKeyPoints" ma:readOnly="true">
      <xsd:simpleType>
        <xsd:restriction base="dms:Note"/>
      </xsd:simpleType>
    </xsd:element>
    <xsd:element name="MediaServiceDateTaken" ma:index="26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27" nillable="true" ma:displayName="Tags" ma:hidden="true" ma:internalName="MediaServiceAutoTags" ma:readOnly="true">
      <xsd:simpleType>
        <xsd:restriction base="dms:Text"/>
      </xsd:simpleType>
    </xsd:element>
    <xsd:element name="MediaServiceOCR" ma:index="28" nillable="true" ma:displayName="Extracted Text" ma:hidden="true" ma:internalName="MediaServiceOCR" ma:readOnly="true">
      <xsd:simpleType>
        <xsd:restriction base="dms:Note"/>
      </xsd:simpleType>
    </xsd:element>
    <xsd:element name="MediaServiceGenerationTime" ma:index="2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3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3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33" nillable="true" ma:taxonomy="true" ma:internalName="lcf76f155ced4ddcb4097134ff3c332f" ma:taxonomyFieldName="MediaServiceImageTags" ma:displayName="Image Tags" ma:readOnly="false" ma:fieldId="{5cf76f15-5ced-4ddc-b409-7134ff3c332f}" ma:taxonomyMulti="true" ma:sspId="8c0b2d59-ef98-492a-a5a5-03894cd99d2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34" nillable="true" ma:displayName="Location" ma:indexed="true" ma:internalName="MediaServiceLocation" ma:readOnly="true">
      <xsd:simpleType>
        <xsd:restriction base="dms:Text"/>
      </xsd:simpleType>
    </xsd:element>
    <xsd:element name="MediaServiceObjectDetectorVersions" ma:index="3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36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dfb6e0f1a86140a69ca177b2db4288cc" ma:index="38" nillable="true" ma:taxonomy="true" ma:internalName="dfb6e0f1a86140a69ca177b2db4288cc" ma:taxonomyFieldName="Phase0" ma:displayName="Phase" ma:default="" ma:fieldId="{dfb6e0f1-a861-40a6-9ca1-77b2db4288cc}" ma:sspId="8c0b2d59-ef98-492a-a5a5-03894cd99d2d" ma:termSetId="b464b11f-af99-4d45-bf33-00fe3912013c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4" elementFormDefault="qualified">
    <xsd:import namespace="http://schemas.microsoft.com/office/2006/documentManagement/types"/>
    <xsd:import namespace="http://schemas.microsoft.com/office/infopath/2007/PartnerControls"/>
    <xsd:element name="IconOverlay" ma:index="23" nillable="true" ma:displayName="IconOverlay" ma:hidden="true" ma:internalName="IconOverlay" ma:readOnly="fals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displayName="Content Type"/>
        <xsd:element ref="dc:title" minOccurs="0" maxOccurs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79E5EA0-C0CC-4694-AC41-7E51AF7BC315}">
  <ds:schemaRefs>
    <ds:schemaRef ds:uri="http://schemas.microsoft.com/office/2006/documentManagement/types"/>
    <ds:schemaRef ds:uri="14223a52-78f1-4411-88fe-611b8f7f76d2"/>
    <ds:schemaRef ds:uri="http://purl.org/dc/elements/1.1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schemas.microsoft.com/sharepoint/v4"/>
    <ds:schemaRef ds:uri="52b6553c-9082-45a7-bb16-50bf2ee0b14c"/>
    <ds:schemaRef ds:uri="http://purl.org/dc/terms/"/>
    <ds:schemaRef ds:uri="http://schemas.microsoft.com/sharepoint/v3"/>
    <ds:schemaRef ds:uri="http://schemas.microsoft.com/office/2006/metadata/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1DA4257F-A48A-44FF-AC52-3C03839C39E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52b6553c-9082-45a7-bb16-50bf2ee0b14c"/>
    <ds:schemaRef ds:uri="14223a52-78f1-4411-88fe-611b8f7f76d2"/>
    <ds:schemaRef ds:uri="http://schemas.microsoft.com/sharepoint/v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701506CB-397C-4EC7-AD8D-4F6CCD03CAD2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1798</TotalTime>
  <Words>753</Words>
  <Application>Microsoft Office PowerPoint</Application>
  <PresentationFormat>Widescreen</PresentationFormat>
  <Paragraphs>90</Paragraphs>
  <Slides>11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9" baseType="lpstr">
      <vt:lpstr>Arial</vt:lpstr>
      <vt:lpstr>Calibri</vt:lpstr>
      <vt:lpstr>Calibri Light</vt:lpstr>
      <vt:lpstr>Courier New</vt:lpstr>
      <vt:lpstr>Wingdings</vt:lpstr>
      <vt:lpstr>Office Theme</vt:lpstr>
      <vt:lpstr>1_Office Theme</vt:lpstr>
      <vt:lpstr>think-cell Slide</vt:lpstr>
      <vt:lpstr>PAVE-Peru Site Visit Study Debrief  03 November 2024</vt:lpstr>
      <vt:lpstr>Program</vt:lpstr>
      <vt:lpstr>3. Costing Component</vt:lpstr>
      <vt:lpstr>3. Costing Component</vt:lpstr>
      <vt:lpstr>3. Costing Component</vt:lpstr>
      <vt:lpstr>3. Costing Component</vt:lpstr>
      <vt:lpstr>3. Costing Component</vt:lpstr>
      <vt:lpstr>3. Costing Component</vt:lpstr>
      <vt:lpstr>Questions?</vt:lpstr>
      <vt:lpstr>Thank you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ebecca Richards-Diop</dc:creator>
  <cp:lastModifiedBy>Saldarriaga, Enrique (CDC/NCHHSTP/DSTDP)</cp:lastModifiedBy>
  <cp:revision>82</cp:revision>
  <dcterms:created xsi:type="dcterms:W3CDTF">2021-07-22T22:03:42Z</dcterms:created>
  <dcterms:modified xsi:type="dcterms:W3CDTF">2024-10-30T18:53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AF69B5B68424043B8DC3770F5FDAB6B</vt:lpwstr>
  </property>
  <property fmtid="{D5CDD505-2E9C-101B-9397-08002B2CF9AE}" pid="3" name="Country">
    <vt:lpwstr>352;#Ethiopia, Federal Democratic Republic of|d77466d3-b247-497e-9c5d-2cf9cfb8762d</vt:lpwstr>
  </property>
  <property fmtid="{D5CDD505-2E9C-101B-9397-08002B2CF9AE}" pid="4" name="MediaServiceImageTags">
    <vt:lpwstr/>
  </property>
  <property fmtid="{D5CDD505-2E9C-101B-9397-08002B2CF9AE}" pid="5" name="Phase0">
    <vt:lpwstr>862</vt:lpwstr>
  </property>
  <property fmtid="{D5CDD505-2E9C-101B-9397-08002B2CF9AE}" pid="6" name="MSIP_Label_7b94a7b8-f06c-4dfe-bdcc-9b548fd58c31_Enabled">
    <vt:lpwstr>true</vt:lpwstr>
  </property>
  <property fmtid="{D5CDD505-2E9C-101B-9397-08002B2CF9AE}" pid="7" name="MSIP_Label_7b94a7b8-f06c-4dfe-bdcc-9b548fd58c31_SetDate">
    <vt:lpwstr>2024-10-30T18:20:44Z</vt:lpwstr>
  </property>
  <property fmtid="{D5CDD505-2E9C-101B-9397-08002B2CF9AE}" pid="8" name="MSIP_Label_7b94a7b8-f06c-4dfe-bdcc-9b548fd58c31_Method">
    <vt:lpwstr>Privileged</vt:lpwstr>
  </property>
  <property fmtid="{D5CDD505-2E9C-101B-9397-08002B2CF9AE}" pid="9" name="MSIP_Label_7b94a7b8-f06c-4dfe-bdcc-9b548fd58c31_Name">
    <vt:lpwstr>7b94a7b8-f06c-4dfe-bdcc-9b548fd58c31</vt:lpwstr>
  </property>
  <property fmtid="{D5CDD505-2E9C-101B-9397-08002B2CF9AE}" pid="10" name="MSIP_Label_7b94a7b8-f06c-4dfe-bdcc-9b548fd58c31_SiteId">
    <vt:lpwstr>9ce70869-60db-44fd-abe8-d2767077fc8f</vt:lpwstr>
  </property>
  <property fmtid="{D5CDD505-2E9C-101B-9397-08002B2CF9AE}" pid="11" name="MSIP_Label_7b94a7b8-f06c-4dfe-bdcc-9b548fd58c31_ActionId">
    <vt:lpwstr>31b50d5c-6f24-48dd-ab1f-526096afe30f</vt:lpwstr>
  </property>
  <property fmtid="{D5CDD505-2E9C-101B-9397-08002B2CF9AE}" pid="12" name="MSIP_Label_7b94a7b8-f06c-4dfe-bdcc-9b548fd58c31_ContentBits">
    <vt:lpwstr>0</vt:lpwstr>
  </property>
</Properties>
</file>